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5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theme/theme6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theme/theme7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theme/theme8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theme/theme9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theme/theme10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theme/theme11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theme/theme12.xml" ContentType="application/vnd.openxmlformats-officedocument.theme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theme/theme13.xml" ContentType="application/vnd.openxmlformats-officedocument.theme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tags/tag19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00.xml" ContentType="application/vnd.openxmlformats-officedocument.presentationml.tags+xml"/>
  <Override PartName="/ppt/notesSlides/notesSlide2.xml" ContentType="application/vnd.openxmlformats-officedocument.presentationml.notesSlide+xml"/>
  <Override PartName="/ppt/tags/tag201.xml" ContentType="application/vnd.openxmlformats-officedocument.presentationml.tags+xml"/>
  <Override PartName="/ppt/notesSlides/notesSlide3.xml" ContentType="application/vnd.openxmlformats-officedocument.presentationml.notesSlide+xml"/>
  <Override PartName="/ppt/tags/tag202.xml" ContentType="application/vnd.openxmlformats-officedocument.presentationml.tags+xml"/>
  <Override PartName="/ppt/notesSlides/notesSlide4.xml" ContentType="application/vnd.openxmlformats-officedocument.presentationml.notesSl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224.xml" ContentType="application/vnd.openxmlformats-officedocument.presentationml.tags+xml"/>
  <Override PartName="/ppt/notesSlides/notesSlide6.xml" ContentType="application/vnd.openxmlformats-officedocument.presentationml.notesSlide+xml"/>
  <Override PartName="/ppt/tags/tag225.xml" ContentType="application/vnd.openxmlformats-officedocument.presentationml.tags+xml"/>
  <Override PartName="/ppt/notesSlides/notesSlide7.xml" ContentType="application/vnd.openxmlformats-officedocument.presentationml.notesSlide+xml"/>
  <Override PartName="/ppt/tags/tag226.xml" ContentType="application/vnd.openxmlformats-officedocument.presentationml.tags+xml"/>
  <Override PartName="/ppt/notesSlides/notesSlide8.xml" ContentType="application/vnd.openxmlformats-officedocument.presentationml.notesSlid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notesSlides/notesSlide11.xml" ContentType="application/vnd.openxmlformats-officedocument.presentationml.notesSlide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5" r:id="rId3"/>
    <p:sldMasterId id="2147483735" r:id="rId4"/>
    <p:sldMasterId id="2147483805" r:id="rId5"/>
    <p:sldMasterId id="2147483874" r:id="rId6"/>
    <p:sldMasterId id="2147483944" r:id="rId7"/>
    <p:sldMasterId id="2147484014" r:id="rId8"/>
    <p:sldMasterId id="2147484084" r:id="rId9"/>
    <p:sldMasterId id="2147484153" r:id="rId10"/>
    <p:sldMasterId id="2147484222" r:id="rId11"/>
    <p:sldMasterId id="2147484291" r:id="rId12"/>
    <p:sldMasterId id="2147484295" r:id="rId13"/>
    <p:sldMasterId id="2147484307" r:id="rId14"/>
  </p:sldMasterIdLst>
  <p:notesMasterIdLst>
    <p:notesMasterId r:id="rId38"/>
  </p:notesMasterIdLst>
  <p:handoutMasterIdLst>
    <p:handoutMasterId r:id="rId39"/>
  </p:handoutMasterIdLst>
  <p:sldIdLst>
    <p:sldId id="256" r:id="rId15"/>
    <p:sldId id="262" r:id="rId16"/>
    <p:sldId id="2147478874" r:id="rId17"/>
    <p:sldId id="2147478914" r:id="rId18"/>
    <p:sldId id="2147478915" r:id="rId19"/>
    <p:sldId id="2147478905" r:id="rId20"/>
    <p:sldId id="2147478888" r:id="rId21"/>
    <p:sldId id="2147473681" r:id="rId22"/>
    <p:sldId id="2147473677" r:id="rId23"/>
    <p:sldId id="2147473676" r:id="rId24"/>
    <p:sldId id="2147473687" r:id="rId25"/>
    <p:sldId id="2147473682" r:id="rId26"/>
    <p:sldId id="2147473683" r:id="rId27"/>
    <p:sldId id="2147473684" r:id="rId28"/>
    <p:sldId id="2147473685" r:id="rId29"/>
    <p:sldId id="2147473667" r:id="rId30"/>
    <p:sldId id="2147473672" r:id="rId31"/>
    <p:sldId id="2147473691" r:id="rId32"/>
    <p:sldId id="2147473670" r:id="rId33"/>
    <p:sldId id="2147473678" r:id="rId34"/>
    <p:sldId id="2147473695" r:id="rId35"/>
    <p:sldId id="2147473673" r:id="rId36"/>
    <p:sldId id="2147478891" r:id="rId37"/>
  </p:sldIdLst>
  <p:sldSz cx="12192000" cy="6858000"/>
  <p:notesSz cx="6797675" cy="99298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ogita" initials="Y" lastIdx="1" clrIdx="0">
    <p:extLst>
      <p:ext uri="{19B8F6BF-5375-455C-9EA6-DF929625EA0E}">
        <p15:presenceInfo xmlns:p15="http://schemas.microsoft.com/office/powerpoint/2012/main" userId="S::yogita@dghindia.gov.in::27057dd3-cae6-4fc3-99c1-6429f98009b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66"/>
    <a:srgbClr val="FF5050"/>
    <a:srgbClr val="009900"/>
    <a:srgbClr val="33CC33"/>
    <a:srgbClr val="FF3300"/>
    <a:srgbClr val="CC3300"/>
    <a:srgbClr val="66FF33"/>
    <a:srgbClr val="FF9900"/>
    <a:srgbClr val="CBDCF1"/>
    <a:srgbClr val="E7EE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446" autoAdjust="0"/>
    <p:restoredTop sz="96357" autoAdjust="0"/>
  </p:normalViewPr>
  <p:slideViewPr>
    <p:cSldViewPr snapToGrid="0">
      <p:cViewPr varScale="1">
        <p:scale>
          <a:sx n="102" d="100"/>
          <a:sy n="102" d="100"/>
        </p:scale>
        <p:origin x="1362" y="10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37118830595502"/>
          <c:y val="0.26482603857652937"/>
          <c:w val="0.60382889779321169"/>
          <c:h val="0.57329656723248368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0066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E09-4131-8B72-FE092640500A}"/>
              </c:ext>
            </c:extLst>
          </c:dPt>
          <c:dPt>
            <c:idx val="1"/>
            <c:bubble3D val="0"/>
            <c:spPr>
              <a:solidFill>
                <a:srgbClr val="0099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E09-4131-8B72-FE092640500A}"/>
              </c:ext>
            </c:extLst>
          </c:dPt>
          <c:dPt>
            <c:idx val="2"/>
            <c:bubble3D val="0"/>
            <c:spPr>
              <a:solidFill>
                <a:srgbClr val="B7E7E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E09-4131-8B72-FE092640500A}"/>
              </c:ext>
            </c:extLst>
          </c:dPt>
          <c:dLbls>
            <c:dLbl>
              <c:idx val="0"/>
              <c:layout>
                <c:manualLayout>
                  <c:x val="0.13185411806406724"/>
                  <c:y val="1.3017721786212081E-2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008080"/>
                        </a:solidFill>
                      </a:rPr>
                      <a:t>Onland </a:t>
                    </a:r>
                    <a:fld id="{2662CA1F-9C48-4682-B8A4-9C28AA4332CF}" type="PERCENTAGE">
                      <a:rPr lang="en-US" b="1">
                        <a:solidFill>
                          <a:srgbClr val="008080"/>
                        </a:solidFill>
                      </a:rPr>
                      <a:pPr/>
                      <a:t>[PERCENTAGE]</a:t>
                    </a:fld>
                    <a:endParaRPr lang="en-US" b="1">
                      <a:solidFill>
                        <a:srgbClr val="008080"/>
                      </a:solidFill>
                    </a:endParaRP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7298267225024"/>
                      <c:h val="0.1770162717196353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2E09-4131-8B72-FE092640500A}"/>
                </c:ext>
              </c:extLst>
            </c:dLbl>
            <c:dLbl>
              <c:idx val="1"/>
              <c:layout>
                <c:manualLayout>
                  <c:x val="-0.19128082161533619"/>
                  <c:y val="7.9529576253516032E-2"/>
                </c:manualLayout>
              </c:layout>
              <c:tx>
                <c:rich>
                  <a:bodyPr/>
                  <a:lstStyle/>
                  <a:p>
                    <a:fld id="{E9B9AB78-1812-4139-97AB-88C3A2E0E4E7}" type="CATEGORYNAME">
                      <a:rPr lang="en-US" b="1">
                        <a:solidFill>
                          <a:srgbClr val="008080"/>
                        </a:solidFill>
                      </a:rPr>
                      <a:pPr/>
                      <a:t>[CATEGORY NAME]</a:t>
                    </a:fld>
                    <a:r>
                      <a:rPr lang="en-US" b="1">
                        <a:solidFill>
                          <a:srgbClr val="008080"/>
                        </a:solidFill>
                      </a:rPr>
                      <a:t>
</a:t>
                    </a:r>
                    <a:fld id="{75A2589E-31B3-44C7-93CE-13F31ABA5880}" type="PERCENTAGE">
                      <a:rPr lang="en-US" b="1">
                        <a:solidFill>
                          <a:srgbClr val="008080"/>
                        </a:solidFill>
                      </a:rPr>
                      <a:pPr/>
                      <a:t>[PERCENTAGE]</a:t>
                    </a:fld>
                    <a:endParaRPr lang="en-US" b="1">
                      <a:solidFill>
                        <a:srgbClr val="008080"/>
                      </a:solidFill>
                    </a:endParaRP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211652457672052"/>
                      <c:h val="0.2572834265869187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2E09-4131-8B72-FE092640500A}"/>
                </c:ext>
              </c:extLst>
            </c:dLbl>
            <c:dLbl>
              <c:idx val="2"/>
              <c:layout>
                <c:manualLayout>
                  <c:x val="-0.12721093389227603"/>
                  <c:y val="-0.18066739400714132"/>
                </c:manualLayout>
              </c:layout>
              <c:tx>
                <c:rich>
                  <a:bodyPr/>
                  <a:lstStyle/>
                  <a:p>
                    <a:fld id="{87E963C5-A468-4916-A606-EDD7739BA45C}" type="CATEGORYNAME">
                      <a:rPr lang="en-US" b="1">
                        <a:solidFill>
                          <a:srgbClr val="008080"/>
                        </a:solidFill>
                      </a:rPr>
                      <a:pPr/>
                      <a:t>[CATEGORY NAME]</a:t>
                    </a:fld>
                    <a:r>
                      <a:rPr lang="en-US" b="1">
                        <a:solidFill>
                          <a:srgbClr val="008080"/>
                        </a:solidFill>
                      </a:rPr>
                      <a:t>
</a:t>
                    </a:r>
                    <a:fld id="{853D7F09-957E-43A4-84DE-D15DBC8CC0FA}" type="PERCENTAGE">
                      <a:rPr lang="en-US" b="1">
                        <a:solidFill>
                          <a:srgbClr val="008080"/>
                        </a:solidFill>
                      </a:rPr>
                      <a:pPr/>
                      <a:t>[PERCENTAGE]</a:t>
                    </a:fld>
                    <a:endParaRPr lang="en-US" b="1">
                      <a:solidFill>
                        <a:srgbClr val="008080"/>
                      </a:solidFill>
                    </a:endParaRP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794322134300077"/>
                      <c:h val="0.2572834265869187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2E09-4131-8B72-FE09264050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808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D$4:$D$6</c:f>
              <c:strCache>
                <c:ptCount val="3"/>
                <c:pt idx="0">
                  <c:v>Onland Area </c:v>
                </c:pt>
                <c:pt idx="1">
                  <c:v>Shallow Water </c:v>
                </c:pt>
                <c:pt idx="2">
                  <c:v>Deep Water</c:v>
                </c:pt>
              </c:strCache>
            </c:strRef>
          </c:cat>
          <c:val>
            <c:numRef>
              <c:f>Sheet1!$E$4:$E$6</c:f>
              <c:numCache>
                <c:formatCode>General</c:formatCode>
                <c:ptCount val="3"/>
                <c:pt idx="0">
                  <c:v>1.63</c:v>
                </c:pt>
                <c:pt idx="1">
                  <c:v>0.41</c:v>
                </c:pt>
                <c:pt idx="2">
                  <c:v>1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E09-4131-8B72-FE092640500A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363088057901084E-2"/>
          <c:y val="3.0320699708454812E-2"/>
          <c:w val="0.93727382388419778"/>
          <c:h val="0.939358600583090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5A5A5A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32B84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498-4990-BC88-DF2014701B66}"/>
              </c:ext>
            </c:extLst>
          </c:dPt>
          <c:dPt>
            <c:idx val="7"/>
            <c:invertIfNegative val="0"/>
            <c:bubble3D val="0"/>
            <c:spPr>
              <a:solidFill>
                <a:srgbClr val="32B84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498-4990-BC88-DF2014701B66}"/>
              </c:ext>
            </c:extLst>
          </c:dPt>
          <c:dLbls>
            <c:dLbl>
              <c:idx val="0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498-4990-BC88-DF2014701B66}"/>
                </c:ext>
              </c:extLst>
            </c:dLbl>
            <c:dLbl>
              <c:idx val="1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498-4990-BC88-DF2014701B66}"/>
                </c:ext>
              </c:extLst>
            </c:dLbl>
            <c:dLbl>
              <c:idx val="2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498-4990-BC88-DF2014701B66}"/>
                </c:ext>
              </c:extLst>
            </c:dLbl>
            <c:dLbl>
              <c:idx val="3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498-4990-BC88-DF2014701B66}"/>
                </c:ext>
              </c:extLst>
            </c:dLbl>
            <c:dLbl>
              <c:idx val="4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498-4990-BC88-DF2014701B66}"/>
                </c:ext>
              </c:extLst>
            </c:dLbl>
            <c:dLbl>
              <c:idx val="5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498-4990-BC88-DF2014701B66}"/>
                </c:ext>
              </c:extLst>
            </c:dLbl>
            <c:dLbl>
              <c:idx val="6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498-4990-BC88-DF2014701B6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21.4</c:v>
                </c:pt>
                <c:pt idx="1">
                  <c:v>105.2</c:v>
                </c:pt>
                <c:pt idx="2">
                  <c:v>73.8</c:v>
                </c:pt>
                <c:pt idx="3">
                  <c:v>50.7</c:v>
                </c:pt>
                <c:pt idx="4">
                  <c:v>17.3</c:v>
                </c:pt>
                <c:pt idx="5">
                  <c:v>3.8</c:v>
                </c:pt>
                <c:pt idx="6">
                  <c:v>16</c:v>
                </c:pt>
                <c:pt idx="7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498-4990-BC88-DF2014701B66}"/>
            </c:ext>
          </c:extLst>
        </c:ser>
        <c:ser>
          <c:idx val="1"/>
          <c:order val="1"/>
          <c:spPr>
            <a:solidFill>
              <a:srgbClr val="5A5A5A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498-4990-BC88-DF2014701B66}"/>
                </c:ext>
              </c:extLst>
            </c:dLbl>
            <c:dLbl>
              <c:idx val="7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498-4990-BC88-DF2014701B6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2">
                  <c:v>42.100000000000009</c:v>
                </c:pt>
                <c:pt idx="7">
                  <c:v>4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498-4990-BC88-DF2014701B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680947455"/>
        <c:axId val="1"/>
      </c:barChart>
      <c:catAx>
        <c:axId val="68094745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rgbClr val="5A5A5A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5.9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680947455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902242668200116E-2"/>
          <c:y val="5.2156469408224673E-2"/>
          <c:w val="0.94019551466359974"/>
          <c:h val="0.895687061183550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8932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7E1-4EC7-A4CF-1CE4DAB71533}"/>
              </c:ext>
            </c:extLst>
          </c:dPt>
          <c:dPt>
            <c:idx val="2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7E1-4EC7-A4CF-1CE4DAB71533}"/>
              </c:ext>
            </c:extLst>
          </c:dPt>
          <c:dLbls>
            <c:dLbl>
              <c:idx val="0"/>
              <c:layout>
                <c:manualLayout>
                  <c:x val="0"/>
                  <c:y val="2.006018054162487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7E1-4EC7-A4CF-1CE4DAB71533}"/>
                </c:ext>
              </c:extLst>
            </c:dLbl>
            <c:dLbl>
              <c:idx val="1"/>
              <c:layout>
                <c:manualLayout>
                  <c:x val="0"/>
                  <c:y val="3.00902708124373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7E1-4EC7-A4CF-1CE4DAB71533}"/>
                </c:ext>
              </c:extLst>
            </c:dLbl>
            <c:dLbl>
              <c:idx val="2"/>
              <c:layout>
                <c:manualLayout>
                  <c:x val="0"/>
                  <c:y val="3.00902708124373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7E1-4EC7-A4CF-1CE4DAB7153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6</c:v>
                </c:pt>
                <c:pt idx="1">
                  <c:v>83</c:v>
                </c:pt>
                <c:pt idx="2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7E1-4EC7-A4CF-1CE4DAB71533}"/>
            </c:ext>
          </c:extLst>
        </c:ser>
        <c:ser>
          <c:idx val="1"/>
          <c:order val="1"/>
          <c:spPr>
            <a:solidFill>
              <a:srgbClr val="32B84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6234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87E1-4EC7-A4CF-1CE4DAB71533}"/>
              </c:ext>
            </c:extLst>
          </c:dPt>
          <c:dPt>
            <c:idx val="1"/>
            <c:invertIfNegative val="0"/>
            <c:bubble3D val="0"/>
            <c:spPr>
              <a:solidFill>
                <a:srgbClr val="B6C2F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87E1-4EC7-A4CF-1CE4DAB71533}"/>
              </c:ext>
            </c:extLst>
          </c:dPt>
          <c:dLbls>
            <c:dLbl>
              <c:idx val="0"/>
              <c:layout>
                <c:manualLayout>
                  <c:x val="0"/>
                  <c:y val="3.00902708124373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7E1-4EC7-A4CF-1CE4DAB71533}"/>
                </c:ext>
              </c:extLst>
            </c:dLbl>
            <c:dLbl>
              <c:idx val="1"/>
              <c:layout>
                <c:manualLayout>
                  <c:x val="0"/>
                  <c:y val="3.00902708124373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7E1-4EC7-A4CF-1CE4DAB71533}"/>
                </c:ext>
              </c:extLst>
            </c:dLbl>
            <c:dLbl>
              <c:idx val="2"/>
              <c:layout>
                <c:manualLayout>
                  <c:x val="0"/>
                  <c:y val="3.00902708124373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7E1-4EC7-A4CF-1CE4DAB7153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84</c:v>
                </c:pt>
                <c:pt idx="1">
                  <c:v>17.000000000000004</c:v>
                </c:pt>
                <c:pt idx="2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7E1-4EC7-A4CF-1CE4DAB715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558355455"/>
        <c:axId val="1"/>
      </c:barChart>
      <c:catAx>
        <c:axId val="15583554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5A5A5A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5835545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363088057901084E-2"/>
          <c:y val="3.0320699708454812E-2"/>
          <c:w val="0.93727382388419778"/>
          <c:h val="0.939358600583090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32B842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5.2472858866103742E-2"/>
                  <c:y val="2.448979591836734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BCC-4BDF-ACA5-DA6F982E9DAB}"/>
                </c:ext>
              </c:extLst>
            </c:dLbl>
            <c:dLbl>
              <c:idx val="2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BCC-4BDF-ACA5-DA6F982E9DAB}"/>
                </c:ext>
              </c:extLst>
            </c:dLbl>
            <c:dLbl>
              <c:idx val="4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BCC-4BDF-ACA5-DA6F982E9DAB}"/>
                </c:ext>
              </c:extLst>
            </c:dLbl>
            <c:dLbl>
              <c:idx val="5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BCC-4BDF-ACA5-DA6F982E9DAB}"/>
                </c:ext>
              </c:extLst>
            </c:dLbl>
            <c:dLbl>
              <c:idx val="6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BCC-4BDF-ACA5-DA6F982E9DAB}"/>
                </c:ext>
              </c:extLst>
            </c:dLbl>
            <c:dLbl>
              <c:idx val="7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BCC-4BDF-ACA5-DA6F982E9DAB}"/>
                </c:ext>
              </c:extLst>
            </c:dLbl>
            <c:dLbl>
              <c:idx val="8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BCC-4BDF-ACA5-DA6F982E9D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1">
                  <c:v>7</c:v>
                </c:pt>
                <c:pt idx="2">
                  <c:v>35</c:v>
                </c:pt>
                <c:pt idx="3">
                  <c:v>7</c:v>
                </c:pt>
                <c:pt idx="4">
                  <c:v>60</c:v>
                </c:pt>
                <c:pt idx="5">
                  <c:v>52</c:v>
                </c:pt>
                <c:pt idx="6">
                  <c:v>43</c:v>
                </c:pt>
                <c:pt idx="7">
                  <c:v>45</c:v>
                </c:pt>
                <c:pt idx="8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BCC-4BDF-ACA5-DA6F982E9DAB}"/>
            </c:ext>
          </c:extLst>
        </c:ser>
        <c:ser>
          <c:idx val="1"/>
          <c:order val="1"/>
          <c:spPr>
            <a:solidFill>
              <a:srgbClr val="5A5A5A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9.2882991556091671E-2"/>
                  <c:y val="2.448979591836734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BCC-4BDF-ACA5-DA6F982E9DAB}"/>
                </c:ext>
              </c:extLst>
            </c:dLbl>
            <c:dLbl>
              <c:idx val="2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BCC-4BDF-ACA5-DA6F982E9DAB}"/>
                </c:ext>
              </c:extLst>
            </c:dLbl>
            <c:dLbl>
              <c:idx val="3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BCC-4BDF-ACA5-DA6F982E9DAB}"/>
                </c:ext>
              </c:extLst>
            </c:dLbl>
            <c:dLbl>
              <c:idx val="4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BCC-4BDF-ACA5-DA6F982E9DAB}"/>
                </c:ext>
              </c:extLst>
            </c:dLbl>
            <c:dLbl>
              <c:idx val="5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BCC-4BDF-ACA5-DA6F982E9DAB}"/>
                </c:ext>
              </c:extLst>
            </c:dLbl>
            <c:dLbl>
              <c:idx val="6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8BCC-4BDF-ACA5-DA6F982E9DAB}"/>
                </c:ext>
              </c:extLst>
            </c:dLbl>
            <c:dLbl>
              <c:idx val="7"/>
              <c:layout>
                <c:manualLayout>
                  <c:x val="-6.0313630880579007E-4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8BCC-4BDF-ACA5-DA6F982E9DAB}"/>
                </c:ext>
              </c:extLst>
            </c:dLbl>
            <c:dLbl>
              <c:idx val="8"/>
              <c:layout>
                <c:manualLayout>
                  <c:x val="0"/>
                  <c:y val="-1.16618075801749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8BCC-4BDF-ACA5-DA6F982E9D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1">
                  <c:v>6</c:v>
                </c:pt>
                <c:pt idx="2">
                  <c:v>44</c:v>
                </c:pt>
                <c:pt idx="3">
                  <c:v>178</c:v>
                </c:pt>
                <c:pt idx="4">
                  <c:v>366</c:v>
                </c:pt>
                <c:pt idx="5">
                  <c:v>61</c:v>
                </c:pt>
                <c:pt idx="6">
                  <c:v>202</c:v>
                </c:pt>
                <c:pt idx="7">
                  <c:v>117</c:v>
                </c:pt>
                <c:pt idx="8">
                  <c:v>1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8BCC-4BDF-ACA5-DA6F982E9D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668113248"/>
        <c:axId val="1"/>
      </c:barChart>
      <c:catAx>
        <c:axId val="66811324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rgbClr val="5A5A5A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6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668113248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328821206993795E-2"/>
          <c:y val="5.0731707317073174E-2"/>
          <c:w val="0.94134235758601237"/>
          <c:h val="0.898536585365853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8932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9D7-4520-B80B-6F4BE593A911}"/>
              </c:ext>
            </c:extLst>
          </c:dPt>
          <c:dPt>
            <c:idx val="2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9D7-4520-B80B-6F4BE593A911}"/>
              </c:ext>
            </c:extLst>
          </c:dPt>
          <c:dLbls>
            <c:dLbl>
              <c:idx val="0"/>
              <c:layout>
                <c:manualLayout>
                  <c:x val="0"/>
                  <c:y val="2.926829268292682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9D7-4520-B80B-6F4BE593A911}"/>
                </c:ext>
              </c:extLst>
            </c:dLbl>
            <c:dLbl>
              <c:idx val="1"/>
              <c:layout>
                <c:manualLayout>
                  <c:x val="0"/>
                  <c:y val="2.926829268292682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9D7-4520-B80B-6F4BE593A911}"/>
                </c:ext>
              </c:extLst>
            </c:dLbl>
            <c:dLbl>
              <c:idx val="2"/>
              <c:layout>
                <c:manualLayout>
                  <c:x val="0"/>
                  <c:y val="1.951219512195121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9D7-4520-B80B-6F4BE593A9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6</c:v>
                </c:pt>
                <c:pt idx="1">
                  <c:v>78</c:v>
                </c:pt>
                <c:pt idx="2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9D7-4520-B80B-6F4BE593A911}"/>
            </c:ext>
          </c:extLst>
        </c:ser>
        <c:ser>
          <c:idx val="1"/>
          <c:order val="1"/>
          <c:spPr>
            <a:solidFill>
              <a:srgbClr val="32B84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6234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9D7-4520-B80B-6F4BE593A911}"/>
              </c:ext>
            </c:extLst>
          </c:dPt>
          <c:dPt>
            <c:idx val="1"/>
            <c:invertIfNegative val="0"/>
            <c:bubble3D val="0"/>
            <c:spPr>
              <a:solidFill>
                <a:srgbClr val="B6C2F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09D7-4520-B80B-6F4BE593A911}"/>
              </c:ext>
            </c:extLst>
          </c:dPt>
          <c:dLbls>
            <c:dLbl>
              <c:idx val="0"/>
              <c:layout>
                <c:manualLayout>
                  <c:x val="0"/>
                  <c:y val="2.926829268292682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9D7-4520-B80B-6F4BE593A911}"/>
                </c:ext>
              </c:extLst>
            </c:dLbl>
            <c:dLbl>
              <c:idx val="1"/>
              <c:layout>
                <c:manualLayout>
                  <c:x val="0"/>
                  <c:y val="2.926829268292682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9D7-4520-B80B-6F4BE593A911}"/>
                </c:ext>
              </c:extLst>
            </c:dLbl>
            <c:dLbl>
              <c:idx val="2"/>
              <c:layout>
                <c:manualLayout>
                  <c:x val="0"/>
                  <c:y val="2.926829268292682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9D7-4520-B80B-6F4BE593A9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84</c:v>
                </c:pt>
                <c:pt idx="1">
                  <c:v>21.999999999999996</c:v>
                </c:pt>
                <c:pt idx="2">
                  <c:v>19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9D7-4520-B80B-6F4BE593A9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591673663"/>
        <c:axId val="1"/>
      </c:barChart>
      <c:catAx>
        <c:axId val="15916736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5A5A5A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916736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363088057901084E-2"/>
          <c:y val="2.9545454545454545E-2"/>
          <c:w val="0.93727382388419778"/>
          <c:h val="0.9153409090909090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32B842"/>
            </a:solidFill>
            <a:ln>
              <a:noFill/>
            </a:ln>
          </c:spPr>
          <c:invertIfNegative val="0"/>
          <c:dLbls>
            <c:dLbl>
              <c:idx val="3"/>
              <c:layout>
                <c:manualLayout>
                  <c:x val="0"/>
                  <c:y val="-1.136363636363636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4C1-4FA1-8A4B-15C556FE6B73}"/>
                </c:ext>
              </c:extLst>
            </c:dLbl>
            <c:dLbl>
              <c:idx val="4"/>
              <c:layout>
                <c:manualLayout>
                  <c:x val="-6.0313630880579007E-4"/>
                  <c:y val="-1.136363636363636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4C1-4FA1-8A4B-15C556FE6B73}"/>
                </c:ext>
              </c:extLst>
            </c:dLbl>
            <c:dLbl>
              <c:idx val="5"/>
              <c:layout>
                <c:manualLayout>
                  <c:x val="0"/>
                  <c:y val="-1.136363636363636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4C1-4FA1-8A4B-15C556FE6B73}"/>
                </c:ext>
              </c:extLst>
            </c:dLbl>
            <c:dLbl>
              <c:idx val="6"/>
              <c:layout>
                <c:manualLayout>
                  <c:x val="0"/>
                  <c:y val="-1.136363636363636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4C1-4FA1-8A4B-15C556FE6B73}"/>
                </c:ext>
              </c:extLst>
            </c:dLbl>
            <c:dLbl>
              <c:idx val="7"/>
              <c:layout>
                <c:manualLayout>
                  <c:x val="0"/>
                  <c:y val="-1.136363636363636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4C1-4FA1-8A4B-15C556FE6B73}"/>
                </c:ext>
              </c:extLst>
            </c:dLbl>
            <c:dLbl>
              <c:idx val="8"/>
              <c:layout>
                <c:manualLayout>
                  <c:x val="0"/>
                  <c:y val="-1.136363636363636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4C1-4FA1-8A4B-15C556FE6B73}"/>
                </c:ext>
              </c:extLst>
            </c:dLbl>
            <c:dLbl>
              <c:idx val="9"/>
              <c:layout>
                <c:manualLayout>
                  <c:x val="-6.0313630880579007E-4"/>
                  <c:y val="-1.136363636363636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4C1-4FA1-8A4B-15C556FE6B7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2">
                  <c:v>1</c:v>
                </c:pt>
                <c:pt idx="3">
                  <c:v>244</c:v>
                </c:pt>
                <c:pt idx="4">
                  <c:v>2022.4</c:v>
                </c:pt>
                <c:pt idx="5">
                  <c:v>361.5</c:v>
                </c:pt>
                <c:pt idx="6">
                  <c:v>217.7</c:v>
                </c:pt>
                <c:pt idx="7">
                  <c:v>1437.6</c:v>
                </c:pt>
                <c:pt idx="8">
                  <c:v>331.9</c:v>
                </c:pt>
                <c:pt idx="9">
                  <c:v>1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4C1-4FA1-8A4B-15C556FE6B73}"/>
            </c:ext>
          </c:extLst>
        </c:ser>
        <c:ser>
          <c:idx val="1"/>
          <c:order val="1"/>
          <c:spPr>
            <a:solidFill>
              <a:srgbClr val="5A5A5A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8.7454764776839569E-2"/>
                  <c:y val="-2.727272727272727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4C1-4FA1-8A4B-15C556FE6B73}"/>
                </c:ext>
              </c:extLst>
            </c:dLbl>
            <c:dLbl>
              <c:idx val="3"/>
              <c:layout>
                <c:manualLayout>
                  <c:x val="5.0060313630880579E-2"/>
                  <c:y val="-1.136363636363636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34C1-4FA1-8A4B-15C556FE6B73}"/>
                </c:ext>
              </c:extLst>
            </c:dLbl>
            <c:dLbl>
              <c:idx val="4"/>
              <c:layout>
                <c:manualLayout>
                  <c:x val="-2.1712907117008445E-2"/>
                  <c:y val="6.3636363636363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4C1-4FA1-8A4B-15C556FE6B73}"/>
                </c:ext>
              </c:extLst>
            </c:dLbl>
            <c:dLbl>
              <c:idx val="5"/>
              <c:layout>
                <c:manualLayout>
                  <c:x val="-6.0313630880579007E-4"/>
                  <c:y val="-1.136363636363636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34C1-4FA1-8A4B-15C556FE6B73}"/>
                </c:ext>
              </c:extLst>
            </c:dLbl>
            <c:dLbl>
              <c:idx val="6"/>
              <c:layout>
                <c:manualLayout>
                  <c:x val="8.9867310012062732E-2"/>
                  <c:y val="-1.136363636363636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34C1-4FA1-8A4B-15C556FE6B73}"/>
                </c:ext>
              </c:extLst>
            </c:dLbl>
            <c:dLbl>
              <c:idx val="7"/>
              <c:layout>
                <c:manualLayout>
                  <c:x val="0"/>
                  <c:y val="-1.136363636363636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34C1-4FA1-8A4B-15C556FE6B73}"/>
                </c:ext>
              </c:extLst>
            </c:dLbl>
            <c:dLbl>
              <c:idx val="8"/>
              <c:layout>
                <c:manualLayout>
                  <c:x val="0"/>
                  <c:y val="-1.136363636363636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34C1-4FA1-8A4B-15C556FE6B73}"/>
                </c:ext>
              </c:extLst>
            </c:dLbl>
            <c:dLbl>
              <c:idx val="9"/>
              <c:layout>
                <c:manualLayout>
                  <c:x val="-6.0313630880579007E-4"/>
                  <c:y val="-6.5909090909090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34C1-4FA1-8A4B-15C556FE6B7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J$2</c:f>
              <c:numCache>
                <c:formatCode>General</c:formatCode>
                <c:ptCount val="10"/>
                <c:pt idx="2">
                  <c:v>6.4</c:v>
                </c:pt>
                <c:pt idx="3">
                  <c:v>26.5</c:v>
                </c:pt>
                <c:pt idx="4">
                  <c:v>119.90000000000009</c:v>
                </c:pt>
                <c:pt idx="5">
                  <c:v>685</c:v>
                </c:pt>
                <c:pt idx="6">
                  <c:v>148.40000000000003</c:v>
                </c:pt>
                <c:pt idx="7">
                  <c:v>261.59999999999991</c:v>
                </c:pt>
                <c:pt idx="8">
                  <c:v>965.1</c:v>
                </c:pt>
                <c:pt idx="9">
                  <c:v>16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34C1-4FA1-8A4B-15C556FE6B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301852576"/>
        <c:axId val="1"/>
      </c:barChart>
      <c:catAx>
        <c:axId val="30185257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rgbClr val="5A5A5A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42.3000000000002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1852576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026026026026026E-2"/>
          <c:y val="5.019305019305019E-2"/>
          <c:w val="0.9479479479479479"/>
          <c:h val="0.899613899613899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6234E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38A-492B-B6D9-5F51C7A0B854}"/>
              </c:ext>
            </c:extLst>
          </c:dPt>
          <c:dPt>
            <c:idx val="2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38A-492B-B6D9-5F51C7A0B854}"/>
              </c:ext>
            </c:extLst>
          </c:dPt>
          <c:dLbls>
            <c:dLbl>
              <c:idx val="0"/>
              <c:layout>
                <c:manualLayout>
                  <c:x val="0"/>
                  <c:y val="2.895752895752895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38A-492B-B6D9-5F51C7A0B854}"/>
                </c:ext>
              </c:extLst>
            </c:dLbl>
            <c:dLbl>
              <c:idx val="1"/>
              <c:layout>
                <c:manualLayout>
                  <c:x val="0"/>
                  <c:y val="2.895752895752895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38A-492B-B6D9-5F51C7A0B854}"/>
                </c:ext>
              </c:extLst>
            </c:dLbl>
            <c:dLbl>
              <c:idx val="2"/>
              <c:layout>
                <c:manualLayout>
                  <c:x val="0"/>
                  <c:y val="2.895752895752895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38A-492B-B6D9-5F51C7A0B85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00</c:v>
                </c:pt>
                <c:pt idx="1">
                  <c:v>44</c:v>
                </c:pt>
                <c:pt idx="2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38A-492B-B6D9-5F51C7A0B854}"/>
            </c:ext>
          </c:extLst>
        </c:ser>
        <c:ser>
          <c:idx val="1"/>
          <c:order val="1"/>
          <c:spPr>
            <a:solidFill>
              <a:srgbClr val="E8932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B6C2F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238A-492B-B6D9-5F51C7A0B854}"/>
              </c:ext>
            </c:extLst>
          </c:dPt>
          <c:dPt>
            <c:idx val="2"/>
            <c:invertIfNegative val="0"/>
            <c:bubble3D val="0"/>
            <c:spPr>
              <a:solidFill>
                <a:srgbClr val="32B84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238A-492B-B6D9-5F51C7A0B854}"/>
              </c:ext>
            </c:extLst>
          </c:dPt>
          <c:dLbls>
            <c:dLbl>
              <c:idx val="1"/>
              <c:layout>
                <c:manualLayout>
                  <c:x val="0"/>
                  <c:y val="2.895752895752895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38A-492B-B6D9-5F51C7A0B854}"/>
                </c:ext>
              </c:extLst>
            </c:dLbl>
            <c:dLbl>
              <c:idx val="2"/>
              <c:layout>
                <c:manualLayout>
                  <c:x val="0"/>
                  <c:y val="2.895752895752895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38A-492B-B6D9-5F51C7A0B85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0</c:v>
                </c:pt>
                <c:pt idx="1">
                  <c:v>56.000000000000007</c:v>
                </c:pt>
                <c:pt idx="2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38A-492B-B6D9-5F51C7A0B8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2075855487"/>
        <c:axId val="1"/>
      </c:barChart>
      <c:catAx>
        <c:axId val="20758554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5A5A5A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758554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362933141785294E-2"/>
          <c:y val="2.9461605237119166E-2"/>
          <c:w val="0.93727382388419778"/>
          <c:h val="0.9127478753541076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32B842"/>
            </a:solidFill>
            <a:ln>
              <a:noFill/>
            </a:ln>
          </c:spPr>
          <c:invertIfNegative val="0"/>
          <c:dLbls>
            <c:dLbl>
              <c:idx val="5"/>
              <c:layout>
                <c:manualLayout>
                  <c:x val="1.8374412862328306E-3"/>
                  <c:y val="-2.564908559099025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3.6469639942072939E-2"/>
                      <c:h val="3.425872606544300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8841-446E-A8A9-FC5E0F042951}"/>
                </c:ext>
              </c:extLst>
            </c:dLbl>
            <c:dLbl>
              <c:idx val="6"/>
              <c:layout>
                <c:manualLayout>
                  <c:x val="3.739445114595899E-2"/>
                  <c:y val="2.096317280453257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841-446E-A8A9-FC5E0F042951}"/>
                </c:ext>
              </c:extLst>
            </c:dLbl>
            <c:dLbl>
              <c:idx val="7"/>
              <c:layout>
                <c:manualLayout>
                  <c:x val="7.7804583835946919E-2"/>
                  <c:y val="2.492917847025495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841-446E-A8A9-FC5E0F042951}"/>
                </c:ext>
              </c:extLst>
            </c:dLbl>
            <c:dLbl>
              <c:idx val="8"/>
              <c:layout>
                <c:manualLayout>
                  <c:x val="0.14595898673100122"/>
                  <c:y val="2.492917847025495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841-446E-A8A9-FC5E0F042951}"/>
                </c:ext>
              </c:extLst>
            </c:dLbl>
            <c:dLbl>
              <c:idx val="10"/>
              <c:layout>
                <c:manualLayout>
                  <c:x val="0.21652593486127866"/>
                  <c:y val="-2.719546742209631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841-446E-A8A9-FC5E0F042951}"/>
                </c:ext>
              </c:extLst>
            </c:dLbl>
            <c:dLbl>
              <c:idx val="11"/>
              <c:layout>
                <c:manualLayout>
                  <c:x val="3.3172496984318456E-2"/>
                  <c:y val="-6.062322946175637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841-446E-A8A9-FC5E0F0429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579.9</c:v>
                </c:pt>
                <c:pt idx="2">
                  <c:v>284.39999999999998</c:v>
                </c:pt>
                <c:pt idx="3">
                  <c:v>228.1</c:v>
                </c:pt>
                <c:pt idx="4">
                  <c:v>168.3</c:v>
                </c:pt>
                <c:pt idx="5">
                  <c:v>74.2</c:v>
                </c:pt>
                <c:pt idx="6">
                  <c:v>3.3</c:v>
                </c:pt>
                <c:pt idx="7">
                  <c:v>20.8</c:v>
                </c:pt>
                <c:pt idx="8">
                  <c:v>43.9</c:v>
                </c:pt>
                <c:pt idx="9">
                  <c:v>501.9</c:v>
                </c:pt>
                <c:pt idx="10">
                  <c:v>62.1</c:v>
                </c:pt>
                <c:pt idx="11">
                  <c:v>9.6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841-446E-A8A9-FC5E0F042951}"/>
            </c:ext>
          </c:extLst>
        </c:ser>
        <c:ser>
          <c:idx val="1"/>
          <c:order val="1"/>
          <c:spPr>
            <a:solidFill>
              <a:srgbClr val="5A5A5A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2183353437876961"/>
                  <c:y val="2.492917847025495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841-446E-A8A9-FC5E0F042951}"/>
                </c:ext>
              </c:extLst>
            </c:dLbl>
            <c:dLbl>
              <c:idx val="5"/>
              <c:layout>
                <c:manualLayout>
                  <c:x val="-2.0125306555960083E-3"/>
                  <c:y val="2.191374548958706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7.2939279884145877E-2"/>
                      <c:h val="3.425872606544300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8841-446E-A8A9-FC5E0F042951}"/>
                </c:ext>
              </c:extLst>
            </c:dLbl>
            <c:dLbl>
              <c:idx val="6"/>
              <c:layout>
                <c:manualLayout>
                  <c:x val="8.805790108564536E-2"/>
                  <c:y val="2.096317280453257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841-446E-A8A9-FC5E0F042951}"/>
                </c:ext>
              </c:extLst>
            </c:dLbl>
            <c:dLbl>
              <c:idx val="7"/>
              <c:layout>
                <c:manualLayout>
                  <c:x val="0.13811821471652594"/>
                  <c:y val="2.492917847025495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841-446E-A8A9-FC5E0F042951}"/>
                </c:ext>
              </c:extLst>
            </c:dLbl>
            <c:dLbl>
              <c:idx val="8"/>
              <c:layout>
                <c:manualLayout>
                  <c:x val="0.17913148371531967"/>
                  <c:y val="2.492917847025495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841-446E-A8A9-FC5E0F042951}"/>
                </c:ext>
              </c:extLst>
            </c:dLbl>
            <c:dLbl>
              <c:idx val="10"/>
              <c:layout>
                <c:manualLayout>
                  <c:x val="0.21049457177322076"/>
                  <c:y val="-2.719546742209631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841-446E-A8A9-FC5E0F042951}"/>
                </c:ext>
              </c:extLst>
            </c:dLbl>
            <c:dLbl>
              <c:idx val="11"/>
              <c:layout>
                <c:manualLayout>
                  <c:x val="9.5295536791314833E-2"/>
                  <c:y val="-6.062322946175637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8841-446E-A8A9-FC5E0F0429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58.8</c:v>
                </c:pt>
                <c:pt idx="1">
                  <c:v>606.1</c:v>
                </c:pt>
                <c:pt idx="2">
                  <c:v>732.2</c:v>
                </c:pt>
                <c:pt idx="3">
                  <c:v>236.1</c:v>
                </c:pt>
                <c:pt idx="4">
                  <c:v>163.09999999999997</c:v>
                </c:pt>
                <c:pt idx="5">
                  <c:v>131.10000000000002</c:v>
                </c:pt>
                <c:pt idx="6">
                  <c:v>4.8999999999999995</c:v>
                </c:pt>
                <c:pt idx="7">
                  <c:v>35.600000000000009</c:v>
                </c:pt>
                <c:pt idx="8">
                  <c:v>106.5</c:v>
                </c:pt>
                <c:pt idx="9">
                  <c:v>505</c:v>
                </c:pt>
                <c:pt idx="10">
                  <c:v>186.6</c:v>
                </c:pt>
                <c:pt idx="11">
                  <c:v>29.8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8841-446E-A8A9-FC5E0F0429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586041200"/>
        <c:axId val="1"/>
      </c:barChart>
      <c:catAx>
        <c:axId val="158604120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rgbClr val="5A5A5A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86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1586041200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733333333333332E-2"/>
          <c:y val="5.1130776794493606E-2"/>
          <c:w val="0.94453333333333334"/>
          <c:h val="0.897738446411012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8932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98A-4561-8D35-3D5C181EACC7}"/>
              </c:ext>
            </c:extLst>
          </c:dPt>
          <c:dPt>
            <c:idx val="2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98A-4561-8D35-3D5C181EACC7}"/>
              </c:ext>
            </c:extLst>
          </c:dPt>
          <c:dLbls>
            <c:dLbl>
              <c:idx val="0"/>
              <c:layout>
                <c:manualLayout>
                  <c:x val="0"/>
                  <c:y val="2.949852507374631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98A-4561-8D35-3D5C181EACC7}"/>
                </c:ext>
              </c:extLst>
            </c:dLbl>
            <c:dLbl>
              <c:idx val="1"/>
              <c:layout>
                <c:manualLayout>
                  <c:x val="0"/>
                  <c:y val="2.949852507374631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98A-4561-8D35-3D5C181EACC7}"/>
                </c:ext>
              </c:extLst>
            </c:dLbl>
            <c:dLbl>
              <c:idx val="2"/>
              <c:layout>
                <c:manualLayout>
                  <c:x val="0"/>
                  <c:y val="1.966568338249754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98A-4561-8D35-3D5C181EACC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4.000000000000002</c:v>
                </c:pt>
                <c:pt idx="1">
                  <c:v>87</c:v>
                </c:pt>
                <c:pt idx="2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98A-4561-8D35-3D5C181EACC7}"/>
            </c:ext>
          </c:extLst>
        </c:ser>
        <c:ser>
          <c:idx val="1"/>
          <c:order val="1"/>
          <c:spPr>
            <a:solidFill>
              <a:srgbClr val="32B84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6234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898A-4561-8D35-3D5C181EACC7}"/>
              </c:ext>
            </c:extLst>
          </c:dPt>
          <c:dPt>
            <c:idx val="1"/>
            <c:invertIfNegative val="0"/>
            <c:bubble3D val="0"/>
            <c:spPr>
              <a:solidFill>
                <a:srgbClr val="B6C2F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898A-4561-8D35-3D5C181EACC7}"/>
              </c:ext>
            </c:extLst>
          </c:dPt>
          <c:dLbls>
            <c:dLbl>
              <c:idx val="0"/>
              <c:layout>
                <c:manualLayout>
                  <c:x val="0"/>
                  <c:y val="1.966568338249754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98A-4561-8D35-3D5C181EACC7}"/>
                </c:ext>
              </c:extLst>
            </c:dLbl>
            <c:dLbl>
              <c:idx val="1"/>
              <c:layout>
                <c:manualLayout>
                  <c:x val="0"/>
                  <c:y val="2.949852507374631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98A-4561-8D35-3D5C181EACC7}"/>
                </c:ext>
              </c:extLst>
            </c:dLbl>
            <c:dLbl>
              <c:idx val="2"/>
              <c:layout>
                <c:manualLayout>
                  <c:x val="0"/>
                  <c:y val="2.949852507374631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98A-4561-8D35-3D5C181EACC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86</c:v>
                </c:pt>
                <c:pt idx="1">
                  <c:v>13</c:v>
                </c:pt>
                <c:pt idx="2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98A-4561-8D35-3D5C181EAC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367006847"/>
        <c:axId val="1"/>
      </c:barChart>
      <c:catAx>
        <c:axId val="13670068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5A5A5A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6700684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470668485675309E-2"/>
          <c:y val="5.5084745762711863E-2"/>
          <c:w val="0.92905866302864937"/>
          <c:h val="0.889830508474576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8932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527-4A76-8DDC-9528EEB5EB0C}"/>
              </c:ext>
            </c:extLst>
          </c:dPt>
          <c:dPt>
            <c:idx val="2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527-4A76-8DDC-9528EEB5EB0C}"/>
              </c:ext>
            </c:extLst>
          </c:dPt>
          <c:dLbls>
            <c:dLbl>
              <c:idx val="0"/>
              <c:layout>
                <c:manualLayout>
                  <c:x val="0"/>
                  <c:y val="3.177966101694915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527-4A76-8DDC-9528EEB5EB0C}"/>
                </c:ext>
              </c:extLst>
            </c:dLbl>
            <c:dLbl>
              <c:idx val="1"/>
              <c:layout>
                <c:manualLayout>
                  <c:x val="0"/>
                  <c:y val="3.177966101694915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527-4A76-8DDC-9528EEB5EB0C}"/>
                </c:ext>
              </c:extLst>
            </c:dLbl>
            <c:dLbl>
              <c:idx val="2"/>
              <c:layout>
                <c:manualLayout>
                  <c:x val="0"/>
                  <c:y val="3.177966101694915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527-4A76-8DDC-9528EEB5EB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39</c:v>
                </c:pt>
                <c:pt idx="1">
                  <c:v>64</c:v>
                </c:pt>
                <c:pt idx="2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527-4A76-8DDC-9528EEB5EB0C}"/>
            </c:ext>
          </c:extLst>
        </c:ser>
        <c:ser>
          <c:idx val="1"/>
          <c:order val="1"/>
          <c:spPr>
            <a:solidFill>
              <a:srgbClr val="32B84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6234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527-4A76-8DDC-9528EEB5EB0C}"/>
              </c:ext>
            </c:extLst>
          </c:dPt>
          <c:dPt>
            <c:idx val="1"/>
            <c:invertIfNegative val="0"/>
            <c:bubble3D val="0"/>
            <c:spPr>
              <a:solidFill>
                <a:srgbClr val="B6C2F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0527-4A76-8DDC-9528EEB5EB0C}"/>
              </c:ext>
            </c:extLst>
          </c:dPt>
          <c:dLbls>
            <c:dLbl>
              <c:idx val="0"/>
              <c:layout>
                <c:manualLayout>
                  <c:x val="0"/>
                  <c:y val="3.177966101694915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527-4A76-8DDC-9528EEB5EB0C}"/>
                </c:ext>
              </c:extLst>
            </c:dLbl>
            <c:dLbl>
              <c:idx val="1"/>
              <c:layout>
                <c:manualLayout>
                  <c:x val="0"/>
                  <c:y val="3.177966101694915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527-4A76-8DDC-9528EEB5EB0C}"/>
                </c:ext>
              </c:extLst>
            </c:dLbl>
            <c:dLbl>
              <c:idx val="2"/>
              <c:layout>
                <c:manualLayout>
                  <c:x val="0"/>
                  <c:y val="3.177966101694915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527-4A76-8DDC-9528EEB5EB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61</c:v>
                </c:pt>
                <c:pt idx="1">
                  <c:v>36</c:v>
                </c:pt>
                <c:pt idx="2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527-4A76-8DDC-9528EEB5EB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2077539183"/>
        <c:axId val="1"/>
      </c:barChart>
      <c:catAx>
        <c:axId val="20775391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5A5A5A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775391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026252983293555E-2"/>
          <c:y val="3.0878859857482184E-2"/>
          <c:w val="0.93794749403341293"/>
          <c:h val="0.9382422802850356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5A5A5A"/>
            </a:solidFill>
            <a:ln>
              <a:noFill/>
            </a:ln>
          </c:spPr>
          <c:invertIfNegative val="0"/>
          <c:dPt>
            <c:idx val="8"/>
            <c:invertIfNegative val="0"/>
            <c:bubble3D val="0"/>
            <c:spPr>
              <a:solidFill>
                <a:srgbClr val="32B84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B39-4E4E-838E-E35B5F013021}"/>
              </c:ext>
            </c:extLst>
          </c:dPt>
          <c:dPt>
            <c:idx val="9"/>
            <c:invertIfNegative val="0"/>
            <c:bubble3D val="0"/>
            <c:spPr>
              <a:solidFill>
                <a:srgbClr val="32B84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B39-4E4E-838E-E35B5F013021}"/>
              </c:ext>
            </c:extLst>
          </c:dPt>
          <c:dPt>
            <c:idx val="10"/>
            <c:invertIfNegative val="0"/>
            <c:bubble3D val="0"/>
            <c:spPr>
              <a:solidFill>
                <a:srgbClr val="32B84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B39-4E4E-838E-E35B5F013021}"/>
              </c:ext>
            </c:extLst>
          </c:dPt>
          <c:dLbls>
            <c:dLbl>
              <c:idx val="1"/>
              <c:layout>
                <c:manualLayout>
                  <c:x val="5.0715990453460619E-2"/>
                  <c:y val="-1.187648456057007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B39-4E4E-838E-E35B5F013021}"/>
                </c:ext>
              </c:extLst>
            </c:dLbl>
            <c:dLbl>
              <c:idx val="2"/>
              <c:layout>
                <c:manualLayout>
                  <c:x val="5.0119331742243436E-2"/>
                  <c:y val="-1.187648456057007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B39-4E4E-838E-E35B5F013021}"/>
                </c:ext>
              </c:extLst>
            </c:dLbl>
            <c:dLbl>
              <c:idx val="9"/>
              <c:layout>
                <c:manualLayout>
                  <c:x val="0.59188544152744627"/>
                  <c:y val="2.612826603325415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B39-4E4E-838E-E35B5F01302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7.1</c:v>
                </c:pt>
                <c:pt idx="1">
                  <c:v>2.7</c:v>
                </c:pt>
                <c:pt idx="2">
                  <c:v>2.6</c:v>
                </c:pt>
                <c:pt idx="3">
                  <c:v>8.3000000000000007</c:v>
                </c:pt>
                <c:pt idx="4">
                  <c:v>21.5</c:v>
                </c:pt>
                <c:pt idx="5">
                  <c:v>5.3</c:v>
                </c:pt>
                <c:pt idx="6">
                  <c:v>3.2</c:v>
                </c:pt>
                <c:pt idx="7">
                  <c:v>16.5</c:v>
                </c:pt>
                <c:pt idx="8">
                  <c:v>33.6</c:v>
                </c:pt>
                <c:pt idx="9">
                  <c:v>0.1</c:v>
                </c:pt>
                <c:pt idx="10">
                  <c:v>36.1</c:v>
                </c:pt>
                <c:pt idx="11">
                  <c:v>67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B39-4E4E-838E-E35B5F013021}"/>
            </c:ext>
          </c:extLst>
        </c:ser>
        <c:ser>
          <c:idx val="1"/>
          <c:order val="1"/>
          <c:spPr>
            <a:solidFill>
              <a:srgbClr val="5A5A5A"/>
            </a:solidFill>
            <a:ln>
              <a:noFill/>
            </a:ln>
          </c:spPr>
          <c:invertIfNegative val="0"/>
          <c:dLbls>
            <c:dLbl>
              <c:idx val="9"/>
              <c:layout>
                <c:manualLayout>
                  <c:x val="0.37768496420047731"/>
                  <c:y val="2.612826603325415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B39-4E4E-838E-E35B5F01302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8">
                  <c:v>7.2999999999999972</c:v>
                </c:pt>
                <c:pt idx="9">
                  <c:v>40.200000000000003</c:v>
                </c:pt>
                <c:pt idx="1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B39-4E4E-838E-E35B5F0130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90699312"/>
        <c:axId val="1"/>
      </c:barChart>
      <c:catAx>
        <c:axId val="9069931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rgbClr val="5A5A5A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7.400000000000006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9069931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E1869A3-9F28-4382-AF22-1E93AE34636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67E618-6DAF-4455-8990-7C2131EB05A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0D866E-2B84-4EF0-AAC8-46CB92EA4803}" type="datetimeFigureOut">
              <a:rPr lang="en-US" smtClean="0"/>
              <a:t>25-Aug-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2134C4-0BB6-4C4E-8D6C-960CB19BE7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746CEB-5F02-4DCD-814F-DD612252819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6FD133-79FD-46E4-9D23-42268BB79F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366540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DF9937-D185-45FA-A715-10B7E104DD79}" type="datetimeFigureOut">
              <a:rPr lang="en-US" smtClean="0"/>
              <a:t>25-Aug-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8722"/>
            <a:ext cx="543814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89A8EB-B9CB-49C5-ADA7-E2A8F81A18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468981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42875" y="635000"/>
            <a:ext cx="7308850" cy="4111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8361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42875" y="635000"/>
            <a:ext cx="7308850" cy="4111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1667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512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996088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1983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0998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7451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5141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512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7858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512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7783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512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9389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42875" y="635000"/>
            <a:ext cx="7308850" cy="4111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35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5" Type="http://schemas.openxmlformats.org/officeDocument/2006/relationships/image" Target="../media/image10.png"/><Relationship Id="rId4" Type="http://schemas.openxmlformats.org/officeDocument/2006/relationships/image" Target="../media/image8.emf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jpe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5" Type="http://schemas.openxmlformats.org/officeDocument/2006/relationships/image" Target="../media/image6.png"/><Relationship Id="rId4" Type="http://schemas.openxmlformats.org/officeDocument/2006/relationships/image" Target="../media/image8.emf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4" Type="http://schemas.openxmlformats.org/officeDocument/2006/relationships/image" Target="../media/image2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4" Type="http://schemas.openxmlformats.org/officeDocument/2006/relationships/image" Target="../media/image2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4" Type="http://schemas.openxmlformats.org/officeDocument/2006/relationships/image" Target="../media/image2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4" Type="http://schemas.openxmlformats.org/officeDocument/2006/relationships/image" Target="../media/image2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jpe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8.bin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8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.xml"/><Relationship Id="rId5" Type="http://schemas.openxmlformats.org/officeDocument/2006/relationships/image" Target="../media/image10.png"/><Relationship Id="rId4" Type="http://schemas.openxmlformats.org/officeDocument/2006/relationships/image" Target="../media/image8.emf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jpe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.xml"/><Relationship Id="rId5" Type="http://schemas.openxmlformats.org/officeDocument/2006/relationships/image" Target="../media/image6.png"/><Relationship Id="rId4" Type="http://schemas.openxmlformats.org/officeDocument/2006/relationships/image" Target="../media/image8.emf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.xml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8.xml"/><Relationship Id="rId4" Type="http://schemas.openxmlformats.org/officeDocument/2006/relationships/image" Target="../media/image2.emf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9.xml"/><Relationship Id="rId4" Type="http://schemas.openxmlformats.org/officeDocument/2006/relationships/image" Target="../media/image2.emf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0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3.xml"/><Relationship Id="rId4" Type="http://schemas.openxmlformats.org/officeDocument/2006/relationships/image" Target="../media/image2.emf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4.xml"/><Relationship Id="rId4" Type="http://schemas.openxmlformats.org/officeDocument/2006/relationships/image" Target="../media/image2.emf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5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jpe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6.bin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0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1.xml"/><Relationship Id="rId5" Type="http://schemas.openxmlformats.org/officeDocument/2006/relationships/image" Target="../media/image10.png"/><Relationship Id="rId4" Type="http://schemas.openxmlformats.org/officeDocument/2006/relationships/image" Target="../media/image8.emf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2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jpe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0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5.xml"/><Relationship Id="rId5" Type="http://schemas.openxmlformats.org/officeDocument/2006/relationships/image" Target="../media/image6.png"/><Relationship Id="rId4" Type="http://schemas.openxmlformats.org/officeDocument/2006/relationships/image" Target="../media/image8.emf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6.xml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7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0.xml"/><Relationship Id="rId4" Type="http://schemas.openxmlformats.org/officeDocument/2006/relationships/image" Target="../media/image2.emf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1.xml"/><Relationship Id="rId4" Type="http://schemas.openxmlformats.org/officeDocument/2006/relationships/image" Target="../media/image2.emf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2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5.xml"/><Relationship Id="rId4" Type="http://schemas.openxmlformats.org/officeDocument/2006/relationships/image" Target="../media/image2.emf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6.xml"/><Relationship Id="rId4" Type="http://schemas.openxmlformats.org/officeDocument/2006/relationships/image" Target="../media/image2.emf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7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8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jpe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4.bin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2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3.xml"/><Relationship Id="rId5" Type="http://schemas.openxmlformats.org/officeDocument/2006/relationships/image" Target="../media/image10.png"/><Relationship Id="rId4" Type="http://schemas.openxmlformats.org/officeDocument/2006/relationships/image" Target="../media/image8.emf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4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jpe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8.bin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7.xml"/><Relationship Id="rId5" Type="http://schemas.openxmlformats.org/officeDocument/2006/relationships/image" Target="../media/image6.png"/><Relationship Id="rId4" Type="http://schemas.openxmlformats.org/officeDocument/2006/relationships/image" Target="../media/image8.emf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8.xml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9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2.bin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2.xml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3.xml"/><Relationship Id="rId4" Type="http://schemas.openxmlformats.org/officeDocument/2006/relationships/image" Target="../media/image2.emf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4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6.bin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7.xml"/><Relationship Id="rId4" Type="http://schemas.openxmlformats.org/officeDocument/2006/relationships/image" Target="../media/image2.emf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8.xml"/><Relationship Id="rId4" Type="http://schemas.openxmlformats.org/officeDocument/2006/relationships/image" Target="../media/image2.emf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9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0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5.jpe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2.bin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5" Type="http://schemas.openxmlformats.org/officeDocument/2006/relationships/image" Target="../media/image10.png"/><Relationship Id="rId4" Type="http://schemas.openxmlformats.org/officeDocument/2006/relationships/image" Target="../media/image8.emf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14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15.xml"/><Relationship Id="rId5" Type="http://schemas.openxmlformats.org/officeDocument/2006/relationships/image" Target="../media/image10.png"/><Relationship Id="rId4" Type="http://schemas.openxmlformats.org/officeDocument/2006/relationships/image" Target="../media/image8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16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5.jpeg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6.bin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19.xml"/><Relationship Id="rId5" Type="http://schemas.openxmlformats.org/officeDocument/2006/relationships/image" Target="../media/image6.png"/><Relationship Id="rId4" Type="http://schemas.openxmlformats.org/officeDocument/2006/relationships/image" Target="../media/image8.emf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20.xml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21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0.bin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24.xml"/><Relationship Id="rId4" Type="http://schemas.openxmlformats.org/officeDocument/2006/relationships/image" Target="../media/image2.emf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25.xml"/><Relationship Id="rId4" Type="http://schemas.openxmlformats.org/officeDocument/2006/relationships/image" Target="../media/image2.emf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26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4.bin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29.xml"/><Relationship Id="rId4" Type="http://schemas.openxmlformats.org/officeDocument/2006/relationships/image" Target="../media/image2.emf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30.xml"/><Relationship Id="rId4" Type="http://schemas.openxmlformats.org/officeDocument/2006/relationships/image" Target="../media/image2.emf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31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32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5.jpeg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0.bin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36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37.xml"/><Relationship Id="rId5" Type="http://schemas.openxmlformats.org/officeDocument/2006/relationships/image" Target="../media/image10.png"/><Relationship Id="rId4" Type="http://schemas.openxmlformats.org/officeDocument/2006/relationships/image" Target="../media/image8.emf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38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5.jpe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4.bin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41.xml"/><Relationship Id="rId5" Type="http://schemas.openxmlformats.org/officeDocument/2006/relationships/image" Target="../media/image6.png"/><Relationship Id="rId4" Type="http://schemas.openxmlformats.org/officeDocument/2006/relationships/image" Target="../media/image8.emf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42.xml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43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8.bin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46.xml"/><Relationship Id="rId4" Type="http://schemas.openxmlformats.org/officeDocument/2006/relationships/image" Target="../media/image2.emf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47.xml"/><Relationship Id="rId4" Type="http://schemas.openxmlformats.org/officeDocument/2006/relationships/image" Target="../media/image2.emf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48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2.bin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51.xml"/><Relationship Id="rId4" Type="http://schemas.openxmlformats.org/officeDocument/2006/relationships/image" Target="../media/image2.emf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52.xml"/><Relationship Id="rId4" Type="http://schemas.openxmlformats.org/officeDocument/2006/relationships/image" Target="../media/image2.emf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53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6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54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5.jpeg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8.bin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9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58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59.xml"/><Relationship Id="rId5" Type="http://schemas.openxmlformats.org/officeDocument/2006/relationships/image" Target="../media/image10.png"/><Relationship Id="rId4" Type="http://schemas.openxmlformats.org/officeDocument/2006/relationships/image" Target="../media/image8.emf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60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5.jpeg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2.bin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63.xml"/><Relationship Id="rId5" Type="http://schemas.openxmlformats.org/officeDocument/2006/relationships/image" Target="../media/image6.png"/><Relationship Id="rId4" Type="http://schemas.openxmlformats.org/officeDocument/2006/relationships/image" Target="../media/image8.emf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4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64.xml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8.emf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5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65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6.bin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68.xml"/><Relationship Id="rId4" Type="http://schemas.openxmlformats.org/officeDocument/2006/relationships/image" Target="../media/image2.emf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8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69.xml"/><Relationship Id="rId4" Type="http://schemas.openxmlformats.org/officeDocument/2006/relationships/image" Target="../media/image2.emf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9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70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0.bin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1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73.xml"/><Relationship Id="rId4" Type="http://schemas.openxmlformats.org/officeDocument/2006/relationships/image" Target="../media/image2.emf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2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74.xml"/><Relationship Id="rId4" Type="http://schemas.openxmlformats.org/officeDocument/2006/relationships/image" Target="../media/image2.emf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75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4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76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5.jpeg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6.bin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7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80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8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81.xml"/><Relationship Id="rId5" Type="http://schemas.openxmlformats.org/officeDocument/2006/relationships/image" Target="../media/image10.png"/><Relationship Id="rId4" Type="http://schemas.openxmlformats.org/officeDocument/2006/relationships/image" Target="../media/image8.emf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82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5.jpeg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0.bin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85.xml"/><Relationship Id="rId5" Type="http://schemas.openxmlformats.org/officeDocument/2006/relationships/image" Target="../media/image6.png"/><Relationship Id="rId4" Type="http://schemas.openxmlformats.org/officeDocument/2006/relationships/image" Target="../media/image8.emf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86.xml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3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87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4.bin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5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0.xml"/><Relationship Id="rId4" Type="http://schemas.openxmlformats.org/officeDocument/2006/relationships/image" Target="../media/image2.emf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1.xml"/><Relationship Id="rId4" Type="http://schemas.openxmlformats.org/officeDocument/2006/relationships/image" Target="../media/image2.emf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7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2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8.bin"/></Relationships>
</file>

<file path=ppt/slideLayouts/_rels/slideLayout6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9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5.xml"/><Relationship Id="rId4" Type="http://schemas.openxmlformats.org/officeDocument/2006/relationships/image" Target="../media/image2.emf"/></Relationships>
</file>

<file path=ppt/slideLayouts/_rels/slideLayout6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6.xml"/><Relationship Id="rId4" Type="http://schemas.openxmlformats.org/officeDocument/2006/relationships/image" Target="../media/image2.emf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1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7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8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5" Type="http://schemas.openxmlformats.org/officeDocument/2006/relationships/image" Target="../media/image5.jpeg"/><Relationship Id="rId4" Type="http://schemas.openxmlformats.org/officeDocument/2006/relationships/image" Target="../media/image3.emf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jpe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9E2690-311F-4C7F-9856-CD8AB22ADD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763D77-A61F-46D0-90A4-3EF2AA0939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FBD90D-8863-4C48-95A5-4B22BB6645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Investors' Meet | Houston | Sept. 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75E196-FB1A-4A68-B147-DC4692C48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2BEBE0-F83F-4F71-991A-2BF35FE6F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C68A2-2EC2-4D38-8FDE-9772B4695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015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B5707-28BA-434E-9B48-12B0AC7BDA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CDA81E-6FFC-4188-9260-D1258E9865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0E3809-5398-4560-BDEE-DC18B52832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Investors' Meet | Houston | Sept. 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9EA7E4-868E-4B05-A928-5CFD9D92E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0C9389-F835-4066-9D28-F6400C786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C68A2-2EC2-4D38-8FDE-9772B4695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69661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1230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64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1909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82157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103644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181748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830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</p:spPr>
        <p:txBody>
          <a:bodyPr/>
          <a:lstStyle>
            <a:lvl1pPr>
              <a:defRPr sz="323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4248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05760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40903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79605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3B35263-594C-452C-80BA-DD689D9EF59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18D8DBC-C526-4207-9B7C-CC6B3F0FAF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77F579-8885-4CEB-AF32-30B4F79FDE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Investors' Meet | Houston | Sept. 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B8BA95-021F-459E-9CE3-45162F49F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A3CDF8-2FDD-4E55-AD83-7FF6745E88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C68A2-2EC2-4D38-8FDE-9772B4695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28758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326216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B9A61024-EF5F-4D4F-8BEF-C9DBCF564F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0929A6-AA90-4BE3-A794-0C9DA8110263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364891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79B06C1F-BB85-4DD7-B99A-DE6BE2F699C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3" name="No fly zone">
              <a:extLst>
                <a:ext uri="{FF2B5EF4-FFF2-40B4-BE49-F238E27FC236}">
                  <a16:creationId xmlns:a16="http://schemas.microsoft.com/office/drawing/2014/main" id="{5BE0206C-E9B7-44A8-B943-39660205FFA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6337A840-7DC0-44AB-B1D6-EEA32C8B4FFF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02CE8B9F-CF74-486E-8634-47F3455D7F2D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FB3B3C51-92CF-4CD7-9E57-C4206779197F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E36E2FB8-DA38-4FE0-8765-211B76ECEFA6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4F497A31-60DA-449B-9477-F9EFB4F4C7C5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B1EDE6F6-F4BD-40E6-ADCB-BCF1358D3F17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5FE8841-2C54-47C8-B29A-6E562E40547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40F52F3-8235-418B-8A74-6FE060B1D171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4CED132E-8CB2-465D-BA02-5D07BC58FF6C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141DBDBF-5CF1-464A-8209-EEC64DE672DA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8C2A0870-87CA-4483-B1C8-3E52F3294870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E199BE98-9C1A-4188-9C5A-B4EE7733452F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F4D550D7-72C3-4DF6-9EE5-EFD724B89527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42FEA2-0098-4367-BA36-5DFF52FE0EA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A56E5925-2BB3-4C0F-B709-714DA8FF1B55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DDE3DD4A-5257-4C0B-9CC5-00D2F632BDF6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05663B1F-B5C3-4E8C-8420-3D1B2EE18F90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D2BCC30-7703-4A29-8729-0D826001A675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689E7287-E05F-4EBF-840B-40D19EE0571F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AAB3F59B-6834-4139-9D02-58D5CCDFE130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4" name="Gutter space">
              <a:extLst>
                <a:ext uri="{FF2B5EF4-FFF2-40B4-BE49-F238E27FC236}">
                  <a16:creationId xmlns:a16="http://schemas.microsoft.com/office/drawing/2014/main" id="{8FD8D4DB-AB91-454E-B1BA-BB0E90D6E750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26" name="Rectangle 34">
                <a:extLst>
                  <a:ext uri="{FF2B5EF4-FFF2-40B4-BE49-F238E27FC236}">
                    <a16:creationId xmlns:a16="http://schemas.microsoft.com/office/drawing/2014/main" id="{CC2A1031-8BB8-42DB-A99C-D58B835307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7" name="Rectangle 35">
                <a:extLst>
                  <a:ext uri="{FF2B5EF4-FFF2-40B4-BE49-F238E27FC236}">
                    <a16:creationId xmlns:a16="http://schemas.microsoft.com/office/drawing/2014/main" id="{91BF26E8-7A30-48EF-8F02-663BFEE98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8" name="Rectangle 36">
                <a:extLst>
                  <a:ext uri="{FF2B5EF4-FFF2-40B4-BE49-F238E27FC236}">
                    <a16:creationId xmlns:a16="http://schemas.microsoft.com/office/drawing/2014/main" id="{C2A80C6B-A60A-478C-95C0-01EF0BAF7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9" name="Rectangle 37">
                <a:extLst>
                  <a:ext uri="{FF2B5EF4-FFF2-40B4-BE49-F238E27FC236}">
                    <a16:creationId xmlns:a16="http://schemas.microsoft.com/office/drawing/2014/main" id="{F69D71B4-E7BF-4198-8F31-BC36AF934C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0" name="Rectangle 38">
                <a:extLst>
                  <a:ext uri="{FF2B5EF4-FFF2-40B4-BE49-F238E27FC236}">
                    <a16:creationId xmlns:a16="http://schemas.microsoft.com/office/drawing/2014/main" id="{61C51D5A-AABF-4FE9-A7B4-B957834B16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1" name="Rectangle 39">
                <a:extLst>
                  <a:ext uri="{FF2B5EF4-FFF2-40B4-BE49-F238E27FC236}">
                    <a16:creationId xmlns:a16="http://schemas.microsoft.com/office/drawing/2014/main" id="{980D98DE-5C59-4489-888E-0E53D8EBBD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2" name="Rectangle 40">
                <a:extLst>
                  <a:ext uri="{FF2B5EF4-FFF2-40B4-BE49-F238E27FC236}">
                    <a16:creationId xmlns:a16="http://schemas.microsoft.com/office/drawing/2014/main" id="{0FEBCA4B-01F4-4022-A743-78551281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3" name="Rectangle 41">
                <a:extLst>
                  <a:ext uri="{FF2B5EF4-FFF2-40B4-BE49-F238E27FC236}">
                    <a16:creationId xmlns:a16="http://schemas.microsoft.com/office/drawing/2014/main" id="{C6C94FE9-ACF6-466B-8BFC-90AF10F8D8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8" name="Rectangle 42">
                <a:extLst>
                  <a:ext uri="{FF2B5EF4-FFF2-40B4-BE49-F238E27FC236}">
                    <a16:creationId xmlns:a16="http://schemas.microsoft.com/office/drawing/2014/main" id="{8FD84607-9D05-4CFF-85C0-30A674044D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9" name="Rectangle 43">
                <a:extLst>
                  <a:ext uri="{FF2B5EF4-FFF2-40B4-BE49-F238E27FC236}">
                    <a16:creationId xmlns:a16="http://schemas.microsoft.com/office/drawing/2014/main" id="{314CFB9D-AA18-4CF0-B56F-39FCAEBC5F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40" name="Rectangle 44">
                <a:extLst>
                  <a:ext uri="{FF2B5EF4-FFF2-40B4-BE49-F238E27FC236}">
                    <a16:creationId xmlns:a16="http://schemas.microsoft.com/office/drawing/2014/main" id="{19F2F422-5791-46D9-B4EF-7A6B3FEEB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5" name="Slide edges">
              <a:extLst>
                <a:ext uri="{FF2B5EF4-FFF2-40B4-BE49-F238E27FC236}">
                  <a16:creationId xmlns:a16="http://schemas.microsoft.com/office/drawing/2014/main" id="{91A96CCE-1E1D-495D-B295-5DB0B79E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6" name="Footnote measure">
              <a:extLst>
                <a:ext uri="{FF2B5EF4-FFF2-40B4-BE49-F238E27FC236}">
                  <a16:creationId xmlns:a16="http://schemas.microsoft.com/office/drawing/2014/main" id="{082346B9-B2AB-4A25-BFF2-93A06510D7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117" name="Whitespace measure">
              <a:extLst>
                <a:ext uri="{FF2B5EF4-FFF2-40B4-BE49-F238E27FC236}">
                  <a16:creationId xmlns:a16="http://schemas.microsoft.com/office/drawing/2014/main" id="{8A89F410-D3E7-48FC-BC17-C16B289BD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118" name="Five column measure">
              <a:extLst>
                <a:ext uri="{FF2B5EF4-FFF2-40B4-BE49-F238E27FC236}">
                  <a16:creationId xmlns:a16="http://schemas.microsoft.com/office/drawing/2014/main" id="{AF0A0B4D-52AE-451B-BF63-A30764B88FC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21" name="Rectangle 5">
                <a:extLst>
                  <a:ext uri="{FF2B5EF4-FFF2-40B4-BE49-F238E27FC236}">
                    <a16:creationId xmlns:a16="http://schemas.microsoft.com/office/drawing/2014/main" id="{E4633997-92FB-4F33-ACEC-BACB0E100A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2" name="Rectangle 7">
                <a:extLst>
                  <a:ext uri="{FF2B5EF4-FFF2-40B4-BE49-F238E27FC236}">
                    <a16:creationId xmlns:a16="http://schemas.microsoft.com/office/drawing/2014/main" id="{1605E953-67F6-4A2E-9BA4-F92A05B0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3" name="Rectangle 9">
                <a:extLst>
                  <a:ext uri="{FF2B5EF4-FFF2-40B4-BE49-F238E27FC236}">
                    <a16:creationId xmlns:a16="http://schemas.microsoft.com/office/drawing/2014/main" id="{F634DDE8-781F-457F-97FB-43C53E5E84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4" name="Rectangle 11">
                <a:extLst>
                  <a:ext uri="{FF2B5EF4-FFF2-40B4-BE49-F238E27FC236}">
                    <a16:creationId xmlns:a16="http://schemas.microsoft.com/office/drawing/2014/main" id="{46C9C76A-4338-4B38-B390-FB55CDB05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5" name="Rectangle 13">
                <a:extLst>
                  <a:ext uri="{FF2B5EF4-FFF2-40B4-BE49-F238E27FC236}">
                    <a16:creationId xmlns:a16="http://schemas.microsoft.com/office/drawing/2014/main" id="{B256419B-BD9C-41DA-89E6-40B93C0B1A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9" name="Live area">
              <a:extLst>
                <a:ext uri="{FF2B5EF4-FFF2-40B4-BE49-F238E27FC236}">
                  <a16:creationId xmlns:a16="http://schemas.microsoft.com/office/drawing/2014/main" id="{4E8E0BA1-EDEF-43F8-B210-C8091C804194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120" name="ee4pFootnotes">
              <a:extLst>
                <a:ext uri="{FF2B5EF4-FFF2-40B4-BE49-F238E27FC236}">
                  <a16:creationId xmlns:a16="http://schemas.microsoft.com/office/drawing/2014/main" id="{97DE969B-57F2-4041-BB48-E2DE763F4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2760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0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982FCF9-715C-428B-BF36-7A5FDD25DD11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AA51026-CFD8-4A3F-8CE3-E57CC80008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10EB070-E5FD-4DDE-AC6D-8D220B43C2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A19FD62A-4798-4917-A473-5F81A636E03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3" y="5570643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1CAD31A-51CF-4015-A4CF-439ED367950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B13BA057-D0D7-4048-A5E9-90EDED33BE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AA7AA96B-70E0-48A7-BF25-15A32D03D7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56417A15-B32C-4CA2-AAE3-DBFD5511B0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3683726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350" cy="316640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70975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535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1879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2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defRPr>
            </a:lvl1pPr>
            <a:lvl2pPr marL="435529" indent="0" algn="ctr">
              <a:buNone/>
              <a:defRPr sz="1905"/>
            </a:lvl2pPr>
            <a:lvl3pPr marL="871057" indent="0" algn="ctr">
              <a:buNone/>
              <a:defRPr sz="1715"/>
            </a:lvl3pPr>
            <a:lvl4pPr marL="1306586" indent="0" algn="ctr">
              <a:buNone/>
              <a:defRPr sz="1524"/>
            </a:lvl4pPr>
            <a:lvl5pPr marL="1742115" indent="0" algn="ctr">
              <a:buNone/>
              <a:defRPr sz="1524"/>
            </a:lvl5pPr>
            <a:lvl6pPr marL="2177644" indent="0" algn="ctr">
              <a:buNone/>
              <a:defRPr sz="1524"/>
            </a:lvl6pPr>
            <a:lvl7pPr marL="2613172" indent="0" algn="ctr">
              <a:buNone/>
              <a:defRPr sz="1524"/>
            </a:lvl7pPr>
            <a:lvl8pPr marL="3048701" indent="0" algn="ctr">
              <a:buNone/>
              <a:defRPr sz="1524"/>
            </a:lvl8pPr>
            <a:lvl9pPr marL="3484230" indent="0" algn="ctr">
              <a:buNone/>
              <a:defRPr sz="1524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9"/>
            <a:ext cx="3744000" cy="664797"/>
          </a:xfrm>
        </p:spPr>
        <p:txBody>
          <a:bodyPr anchor="t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5694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6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4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264796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2"/>
            <a:ext cx="951721" cy="951721"/>
          </a:xfrm>
          <a:prstGeom prst="rect">
            <a:avLst/>
          </a:prstGeom>
          <a:noFill/>
          <a:ln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5451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102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84112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1"/>
            <a:ext cx="6276529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86300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vestors' Meet | Houston | Sept. 2022</a:t>
            </a:r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79005D9-4128-4B38-AEC4-0E3BE6372F7E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9069B42-37EE-4ABA-83E3-1CD79DFE05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525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4082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8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8101584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41043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5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5844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76894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83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908683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30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69073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7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551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65346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404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63263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838200" y="212726"/>
            <a:ext cx="10515600" cy="734804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780285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2540" kern="1200" dirty="0">
                <a:solidFill>
                  <a:srgbClr val="6D2077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- KPMG </a:t>
            </a:r>
            <a:r>
              <a:rPr lang="en-US" dirty="0" err="1"/>
              <a:t>Extralight</a:t>
            </a:r>
            <a:r>
              <a:rPr lang="en-US" dirty="0"/>
              <a:t> Font 44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838200" y="998330"/>
            <a:ext cx="10515600" cy="0"/>
          </a:xfrm>
          <a:prstGeom prst="line">
            <a:avLst/>
          </a:prstGeom>
          <a:ln>
            <a:solidFill>
              <a:srgbClr val="007C9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14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1557339"/>
            <a:ext cx="10515600" cy="42846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None/>
              <a:defRPr lang="en-US" sz="1024" kern="1200" baseline="0" dirty="0">
                <a:solidFill>
                  <a:schemeClr val="tx1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2pPr marL="231648" indent="-231648">
              <a:lnSpc>
                <a:spcPct val="90000"/>
              </a:lnSpc>
              <a:buFont typeface="Arial" panose="020B0604020202020204" pitchFamily="34" charset="0"/>
              <a:buChar char="—"/>
              <a:defRPr lang="en-US" sz="1024" kern="1200" baseline="0" dirty="0">
                <a:solidFill>
                  <a:schemeClr val="tx1"/>
                </a:solidFill>
                <a:latin typeface="Univers for KPMG" panose="020B0603020202020204" pitchFamily="34" charset="0"/>
                <a:ea typeface="+mn-ea"/>
                <a:cs typeface="+mn-cs"/>
              </a:defRPr>
            </a:lvl2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 </a:t>
            </a:r>
          </a:p>
          <a:p>
            <a:pPr marL="0" lvl="0" indent="0" algn="l" defTabSz="780285" rtl="0" eaLnBrk="1" latinLnBrk="0" hangingPunct="1">
              <a:lnSpc>
                <a:spcPct val="90000"/>
              </a:lnSpc>
              <a:spcBef>
                <a:spcPts val="854"/>
              </a:spcBef>
              <a:buFont typeface="Arial" panose="020B0604020202020204" pitchFamily="34" charset="0"/>
              <a:buNone/>
            </a:pPr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93839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30">
          <p15:clr>
            <a:srgbClr val="FBAE40"/>
          </p15:clr>
        </p15:guide>
        <p15:guide id="2" pos="601">
          <p15:clr>
            <a:srgbClr val="FBAE40"/>
          </p15:clr>
        </p15:guide>
        <p15:guide id="3" pos="8399">
          <p15:clr>
            <a:srgbClr val="FBAE40"/>
          </p15:clr>
        </p15:guide>
        <p15:guide id="4" orient="horz" pos="3863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6227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3975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604526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47954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23832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9473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200" cy="31664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76224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1690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5698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04844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21143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309" y="268131"/>
            <a:ext cx="11933381" cy="702302"/>
          </a:xfrm>
        </p:spPr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200"/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/>
            </a:lvl1pPr>
          </a:lstStyle>
          <a:p>
            <a:fld id="{629637A9-119A-49DA-BD12-AAC58B377D80}" type="slidenum">
              <a:rPr lang="en-US" smtClean="0"/>
              <a:pPr/>
              <a:t>‹#›</a:t>
            </a:fld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21638597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45580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A391E1D-6927-4B36-986D-E693D888F8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F46813C-089B-42DD-93EF-4FAD03D8F41D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177707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186EDF6-F493-451E-A790-F103405D687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E043909A-6757-45F3-BA9E-CD764990903A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F872CE8F-3F0B-4F10-9C46-F1971232C540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424B456A-ACDB-452F-A82C-A447A8022FC5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10EC6263-C735-435C-B5FB-A1A090D82696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BCFC957E-A1AA-4488-B4F7-E42719D90083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860ED8C1-914B-4FE2-B202-3EADDA88671B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D2D67AD1-78E4-4ACD-A2B4-E755EE0BC3EE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A2614495-B0AA-4BFB-AAFC-C277AB1903E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B31AC91-26B0-46CE-A559-6170B43B5436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4F3AC0CE-CAD1-4292-BAD3-251D546DBC98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EA7F5A4-1850-4AC2-9D22-F35FD755199B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EF02D1C-4F7D-42B1-949D-F6F32794F0CD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D7010C52-AD41-4AC8-BDDD-DDA0DAC1313A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A87E638F-7416-47FB-BC05-73E41DA33B52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05BD109-9013-4BAA-A2E0-E0D14BD8A6D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CB3C821B-BE4C-4939-90A7-7C674C6CC188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286A8CF5-F350-482E-A284-B52BD7223372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B06DE91-73BB-4FE0-B581-AC7421221637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5FDFD0DD-D795-4666-A1B7-830D6E1999DF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122FBAC-3E0E-4642-9209-057F14DBD9CA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328CBA-E718-4667-9ACD-A752E3933D74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3" name="Gutter space">
              <a:extLst>
                <a:ext uri="{FF2B5EF4-FFF2-40B4-BE49-F238E27FC236}">
                  <a16:creationId xmlns:a16="http://schemas.microsoft.com/office/drawing/2014/main" id="{376D823D-D34D-49F5-BE43-29837D19CF43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85" name="Rectangle 34">
                <a:extLst>
                  <a:ext uri="{FF2B5EF4-FFF2-40B4-BE49-F238E27FC236}">
                    <a16:creationId xmlns:a16="http://schemas.microsoft.com/office/drawing/2014/main" id="{F6FEF8DA-E406-4A77-BB5C-66785DE7D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6" name="Rectangle 35">
                <a:extLst>
                  <a:ext uri="{FF2B5EF4-FFF2-40B4-BE49-F238E27FC236}">
                    <a16:creationId xmlns:a16="http://schemas.microsoft.com/office/drawing/2014/main" id="{98BCAF4F-96B6-4583-ABA1-EA7180BC76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7" name="Rectangle 36">
                <a:extLst>
                  <a:ext uri="{FF2B5EF4-FFF2-40B4-BE49-F238E27FC236}">
                    <a16:creationId xmlns:a16="http://schemas.microsoft.com/office/drawing/2014/main" id="{63B3871A-9CEC-48D0-A7CD-4EB61563E0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8" name="Rectangle 37">
                <a:extLst>
                  <a:ext uri="{FF2B5EF4-FFF2-40B4-BE49-F238E27FC236}">
                    <a16:creationId xmlns:a16="http://schemas.microsoft.com/office/drawing/2014/main" id="{56091341-1622-4A44-AEBC-2C1A6C5E96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9" name="Rectangle 38">
                <a:extLst>
                  <a:ext uri="{FF2B5EF4-FFF2-40B4-BE49-F238E27FC236}">
                    <a16:creationId xmlns:a16="http://schemas.microsoft.com/office/drawing/2014/main" id="{FDCA88BD-8A0B-4803-8BCD-DBCFE50665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0" name="Rectangle 39">
                <a:extLst>
                  <a:ext uri="{FF2B5EF4-FFF2-40B4-BE49-F238E27FC236}">
                    <a16:creationId xmlns:a16="http://schemas.microsoft.com/office/drawing/2014/main" id="{1752D24A-95D1-4BF5-942F-7403FFC979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1" name="Rectangle 40">
                <a:extLst>
                  <a:ext uri="{FF2B5EF4-FFF2-40B4-BE49-F238E27FC236}">
                    <a16:creationId xmlns:a16="http://schemas.microsoft.com/office/drawing/2014/main" id="{DDAD0B10-607F-4F76-B8E2-856CEFF459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2" name="Rectangle 41">
                <a:extLst>
                  <a:ext uri="{FF2B5EF4-FFF2-40B4-BE49-F238E27FC236}">
                    <a16:creationId xmlns:a16="http://schemas.microsoft.com/office/drawing/2014/main" id="{D86AE034-410A-4325-8973-EAF7C3B581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3" name="Rectangle 42">
                <a:extLst>
                  <a:ext uri="{FF2B5EF4-FFF2-40B4-BE49-F238E27FC236}">
                    <a16:creationId xmlns:a16="http://schemas.microsoft.com/office/drawing/2014/main" id="{420697CC-D29F-47F9-B11D-10251B5B9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4" name="Rectangle 43">
                <a:extLst>
                  <a:ext uri="{FF2B5EF4-FFF2-40B4-BE49-F238E27FC236}">
                    <a16:creationId xmlns:a16="http://schemas.microsoft.com/office/drawing/2014/main" id="{73620A14-7B53-4E94-B3B4-C239CA820B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5" name="Rectangle 44">
                <a:extLst>
                  <a:ext uri="{FF2B5EF4-FFF2-40B4-BE49-F238E27FC236}">
                    <a16:creationId xmlns:a16="http://schemas.microsoft.com/office/drawing/2014/main" id="{036C0721-D3AE-432E-B178-520AFE536C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4" name="Slide edges">
              <a:extLst>
                <a:ext uri="{FF2B5EF4-FFF2-40B4-BE49-F238E27FC236}">
                  <a16:creationId xmlns:a16="http://schemas.microsoft.com/office/drawing/2014/main" id="{00D602B6-43AC-4014-A447-2EE61049D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5" name="Footnote measure">
              <a:extLst>
                <a:ext uri="{FF2B5EF4-FFF2-40B4-BE49-F238E27FC236}">
                  <a16:creationId xmlns:a16="http://schemas.microsoft.com/office/drawing/2014/main" id="{2B634860-1500-42B7-B1D9-3DEC0117C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76" name="Whitespace measure">
              <a:extLst>
                <a:ext uri="{FF2B5EF4-FFF2-40B4-BE49-F238E27FC236}">
                  <a16:creationId xmlns:a16="http://schemas.microsoft.com/office/drawing/2014/main" id="{93F63E8E-37C1-4FB4-9789-977EBD9DF9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77" name="Five column measure">
              <a:extLst>
                <a:ext uri="{FF2B5EF4-FFF2-40B4-BE49-F238E27FC236}">
                  <a16:creationId xmlns:a16="http://schemas.microsoft.com/office/drawing/2014/main" id="{1AAD3B61-EA13-412D-A034-51AC471AC5AC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80" name="Rectangle 5">
                <a:extLst>
                  <a:ext uri="{FF2B5EF4-FFF2-40B4-BE49-F238E27FC236}">
                    <a16:creationId xmlns:a16="http://schemas.microsoft.com/office/drawing/2014/main" id="{5506CC4E-A9C4-438F-9A3F-96182A75E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1" name="Rectangle 7">
                <a:extLst>
                  <a:ext uri="{FF2B5EF4-FFF2-40B4-BE49-F238E27FC236}">
                    <a16:creationId xmlns:a16="http://schemas.microsoft.com/office/drawing/2014/main" id="{1F032728-5EDC-495D-8244-DE0BE42A5B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2" name="Rectangle 9">
                <a:extLst>
                  <a:ext uri="{FF2B5EF4-FFF2-40B4-BE49-F238E27FC236}">
                    <a16:creationId xmlns:a16="http://schemas.microsoft.com/office/drawing/2014/main" id="{2D75812C-FA03-4CBC-8BB2-F5CF950F07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3" name="Rectangle 11">
                <a:extLst>
                  <a:ext uri="{FF2B5EF4-FFF2-40B4-BE49-F238E27FC236}">
                    <a16:creationId xmlns:a16="http://schemas.microsoft.com/office/drawing/2014/main" id="{9FCE93D4-CE77-4D88-9735-6FCAC5F241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4" name="Rectangle 13">
                <a:extLst>
                  <a:ext uri="{FF2B5EF4-FFF2-40B4-BE49-F238E27FC236}">
                    <a16:creationId xmlns:a16="http://schemas.microsoft.com/office/drawing/2014/main" id="{EB18EFE9-FEC5-48E0-BA3E-10C3C75A80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8" name="Live area">
              <a:extLst>
                <a:ext uri="{FF2B5EF4-FFF2-40B4-BE49-F238E27FC236}">
                  <a16:creationId xmlns:a16="http://schemas.microsoft.com/office/drawing/2014/main" id="{E1464F76-1617-4CCA-8871-DB77ECCB8E8D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79" name="ee4pFootnotes">
              <a:extLst>
                <a:ext uri="{FF2B5EF4-FFF2-40B4-BE49-F238E27FC236}">
                  <a16:creationId xmlns:a16="http://schemas.microsoft.com/office/drawing/2014/main" id="{8483420E-9242-4947-B5F3-1922B03C5B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4388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7" y="4691188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8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200"/>
            <a:ext cx="3448800" cy="116260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144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44025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737269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1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354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49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5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2" y="3207716"/>
            <a:ext cx="1547143" cy="4221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3048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92932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7" y="4691188"/>
            <a:ext cx="929337" cy="995874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8"/>
            <a:ext cx="1570152" cy="1468176"/>
          </a:xfrm>
          <a:prstGeom prst="rect">
            <a:avLst/>
          </a:prstGeom>
          <a:noFill/>
          <a:ln w="9525" cmpd="sng">
            <a:solidFill>
              <a:srgbClr val="4472C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162606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144">
                <a:solidFill>
                  <a:srgbClr val="4472C4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3218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130185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1"/>
            <a:ext cx="9619200" cy="3200400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31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rgbClr val="4472C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5217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5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2" y="3262146"/>
            <a:ext cx="1161047" cy="3165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2286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76474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7729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82C103E6-56C0-4803-91FF-919D27F75820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DC84CFD-DDA8-40AC-B7BC-774D356E8F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9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5C5F7BC-6CB5-4CB3-84A5-E064690BD1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C3825231-F16B-47F4-BB89-AF2B79C488B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9" y="5570646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28D422-7258-4118-BAB2-F0AF6381E74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C9A652C-DEE4-4F9F-8889-3FABCF7248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7940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4472C4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4537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7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715"/>
          </a:p>
        </p:txBody>
      </p:sp>
      <p:sp>
        <p:nvSpPr>
          <p:cNvPr id="8" name="Rectangle 7"/>
          <p:cNvSpPr/>
          <p:nvPr/>
        </p:nvSpPr>
        <p:spPr>
          <a:xfrm>
            <a:off x="17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715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3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7621" spc="-48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286" cap="all" spc="191" baseline="0">
                <a:solidFill>
                  <a:schemeClr val="tx2"/>
                </a:solidFill>
                <a:latin typeface="+mj-lt"/>
              </a:defRPr>
            </a:lvl1pPr>
            <a:lvl2pPr marL="435529" indent="0" algn="ctr">
              <a:buNone/>
              <a:defRPr sz="2286"/>
            </a:lvl2pPr>
            <a:lvl3pPr marL="871057" indent="0" algn="ctr">
              <a:buNone/>
              <a:defRPr sz="2286"/>
            </a:lvl3pPr>
            <a:lvl4pPr marL="1306586" indent="0" algn="ctr">
              <a:buNone/>
              <a:defRPr sz="1905"/>
            </a:lvl4pPr>
            <a:lvl5pPr marL="1742115" indent="0" algn="ctr">
              <a:buNone/>
              <a:defRPr sz="1905"/>
            </a:lvl5pPr>
            <a:lvl6pPr marL="2177644" indent="0" algn="ctr">
              <a:buNone/>
              <a:defRPr sz="1905"/>
            </a:lvl6pPr>
            <a:lvl7pPr marL="2613172" indent="0" algn="ctr">
              <a:buNone/>
              <a:defRPr sz="1905"/>
            </a:lvl7pPr>
            <a:lvl8pPr marL="3048701" indent="0" algn="ctr">
              <a:buNone/>
              <a:defRPr sz="1905"/>
            </a:lvl8pPr>
            <a:lvl9pPr marL="3484230" indent="0" algn="ctr">
              <a:buNone/>
              <a:defRPr sz="1905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3" y="6562828"/>
            <a:ext cx="1482051" cy="322524"/>
          </a:xfrm>
        </p:spPr>
        <p:txBody>
          <a:bodyPr/>
          <a:lstStyle>
            <a:lvl1pPr>
              <a:defRPr sz="1048"/>
            </a:lvl1pPr>
          </a:lstStyle>
          <a:p>
            <a:r>
              <a:rPr lang="en-US"/>
              <a:t>Investors' Meet | Houston | Sept. 2022</a:t>
            </a:r>
            <a:endParaRPr lang="en-US" sz="1048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48"/>
            </a:lvl1pPr>
          </a:lstStyle>
          <a:p>
            <a:endParaRPr lang="en-US" sz="1048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334"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16755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310" y="268131"/>
            <a:ext cx="11933381" cy="316640"/>
          </a:xfrm>
        </p:spPr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207102"/>
            <a:ext cx="1482051" cy="351822"/>
          </a:xfrm>
        </p:spPr>
        <p:txBody>
          <a:bodyPr/>
          <a:lstStyle>
            <a:lvl1pPr>
              <a:defRPr sz="1143"/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43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334"/>
            </a:lvl1pPr>
          </a:lstStyle>
          <a:p>
            <a:fld id="{629637A9-119A-49DA-BD12-AAC58B377D80}" type="slidenum">
              <a:rPr lang="en-US" smtClean="0"/>
              <a:pPr/>
              <a:t>‹#›</a:t>
            </a:fld>
            <a:endParaRPr lang="en-US" sz="1334"/>
          </a:p>
        </p:txBody>
      </p:sp>
    </p:spTree>
    <p:extLst>
      <p:ext uri="{BB962C8B-B14F-4D97-AF65-F5344CB8AC3E}">
        <p14:creationId xmlns:p14="http://schemas.microsoft.com/office/powerpoint/2010/main" val="49953445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1240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82C103E6-56C0-4803-91FF-919D27F75820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DC84CFD-DDA8-40AC-B7BC-774D356E8F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5C5F7BC-6CB5-4CB3-84A5-E064690BD1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C3825231-F16B-47F4-BB89-AF2B79C488B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3" y="5570643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28D422-7258-4118-BAB2-F0AF6381E74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C9A652C-DEE4-4F9F-8889-3FABCF7248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4369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6474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48573"/>
          </a:xfrm>
        </p:spPr>
        <p:txBody>
          <a:bodyPr/>
          <a:lstStyle>
            <a:lvl1pPr>
              <a:defRPr sz="3239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1" y="2085629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399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21829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4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5781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0371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89529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0781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0133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5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6447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2025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19567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4015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 baseline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406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048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73997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55170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7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653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82781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4493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290086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48573"/>
          </a:xfrm>
        </p:spPr>
        <p:txBody>
          <a:bodyPr/>
          <a:lstStyle>
            <a:lvl1pPr>
              <a:defRPr sz="3239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3" y="2085632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87031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2755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33697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6777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72346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902311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8600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</p:spPr>
        <p:txBody>
          <a:bodyPr/>
          <a:lstStyle>
            <a:lvl1pPr>
              <a:defRPr sz="323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01866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74672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55991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99949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719745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B9A61024-EF5F-4D4F-8BEF-C9DBCF564F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0929A6-AA90-4BE3-A794-0C9DA8110263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75886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5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1002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79B06C1F-BB85-4DD7-B99A-DE6BE2F699C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3" name="No fly zone">
              <a:extLst>
                <a:ext uri="{FF2B5EF4-FFF2-40B4-BE49-F238E27FC236}">
                  <a16:creationId xmlns:a16="http://schemas.microsoft.com/office/drawing/2014/main" id="{5BE0206C-E9B7-44A8-B943-39660205FFA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6337A840-7DC0-44AB-B1D6-EEA32C8B4FFF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02CE8B9F-CF74-486E-8634-47F3455D7F2D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FB3B3C51-92CF-4CD7-9E57-C4206779197F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E36E2FB8-DA38-4FE0-8765-211B76ECEFA6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4F497A31-60DA-449B-9477-F9EFB4F4C7C5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B1EDE6F6-F4BD-40E6-ADCB-BCF1358D3F17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5FE8841-2C54-47C8-B29A-6E562E40547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40F52F3-8235-418B-8A74-6FE060B1D171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4CED132E-8CB2-465D-BA02-5D07BC58FF6C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141DBDBF-5CF1-464A-8209-EEC64DE672DA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8C2A0870-87CA-4483-B1C8-3E52F3294870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E199BE98-9C1A-4188-9C5A-B4EE7733452F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F4D550D7-72C3-4DF6-9EE5-EFD724B89527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42FEA2-0098-4367-BA36-5DFF52FE0EA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A56E5925-2BB3-4C0F-B709-714DA8FF1B55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DDE3DD4A-5257-4C0B-9CC5-00D2F632BDF6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05663B1F-B5C3-4E8C-8420-3D1B2EE18F90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D2BCC30-7703-4A29-8729-0D826001A675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689E7287-E05F-4EBF-840B-40D19EE0571F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AAB3F59B-6834-4139-9D02-58D5CCDFE130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4" name="Gutter space">
              <a:extLst>
                <a:ext uri="{FF2B5EF4-FFF2-40B4-BE49-F238E27FC236}">
                  <a16:creationId xmlns:a16="http://schemas.microsoft.com/office/drawing/2014/main" id="{8FD8D4DB-AB91-454E-B1BA-BB0E90D6E750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26" name="Rectangle 34">
                <a:extLst>
                  <a:ext uri="{FF2B5EF4-FFF2-40B4-BE49-F238E27FC236}">
                    <a16:creationId xmlns:a16="http://schemas.microsoft.com/office/drawing/2014/main" id="{CC2A1031-8BB8-42DB-A99C-D58B835307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7" name="Rectangle 35">
                <a:extLst>
                  <a:ext uri="{FF2B5EF4-FFF2-40B4-BE49-F238E27FC236}">
                    <a16:creationId xmlns:a16="http://schemas.microsoft.com/office/drawing/2014/main" id="{91BF26E8-7A30-48EF-8F02-663BFEE98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8" name="Rectangle 36">
                <a:extLst>
                  <a:ext uri="{FF2B5EF4-FFF2-40B4-BE49-F238E27FC236}">
                    <a16:creationId xmlns:a16="http://schemas.microsoft.com/office/drawing/2014/main" id="{C2A80C6B-A60A-478C-95C0-01EF0BAF7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9" name="Rectangle 37">
                <a:extLst>
                  <a:ext uri="{FF2B5EF4-FFF2-40B4-BE49-F238E27FC236}">
                    <a16:creationId xmlns:a16="http://schemas.microsoft.com/office/drawing/2014/main" id="{F69D71B4-E7BF-4198-8F31-BC36AF934C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0" name="Rectangle 38">
                <a:extLst>
                  <a:ext uri="{FF2B5EF4-FFF2-40B4-BE49-F238E27FC236}">
                    <a16:creationId xmlns:a16="http://schemas.microsoft.com/office/drawing/2014/main" id="{61C51D5A-AABF-4FE9-A7B4-B957834B16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1" name="Rectangle 39">
                <a:extLst>
                  <a:ext uri="{FF2B5EF4-FFF2-40B4-BE49-F238E27FC236}">
                    <a16:creationId xmlns:a16="http://schemas.microsoft.com/office/drawing/2014/main" id="{980D98DE-5C59-4489-888E-0E53D8EBBD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2" name="Rectangle 40">
                <a:extLst>
                  <a:ext uri="{FF2B5EF4-FFF2-40B4-BE49-F238E27FC236}">
                    <a16:creationId xmlns:a16="http://schemas.microsoft.com/office/drawing/2014/main" id="{0FEBCA4B-01F4-4022-A743-78551281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3" name="Rectangle 41">
                <a:extLst>
                  <a:ext uri="{FF2B5EF4-FFF2-40B4-BE49-F238E27FC236}">
                    <a16:creationId xmlns:a16="http://schemas.microsoft.com/office/drawing/2014/main" id="{C6C94FE9-ACF6-466B-8BFC-90AF10F8D8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8" name="Rectangle 42">
                <a:extLst>
                  <a:ext uri="{FF2B5EF4-FFF2-40B4-BE49-F238E27FC236}">
                    <a16:creationId xmlns:a16="http://schemas.microsoft.com/office/drawing/2014/main" id="{8FD84607-9D05-4CFF-85C0-30A674044D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9" name="Rectangle 43">
                <a:extLst>
                  <a:ext uri="{FF2B5EF4-FFF2-40B4-BE49-F238E27FC236}">
                    <a16:creationId xmlns:a16="http://schemas.microsoft.com/office/drawing/2014/main" id="{314CFB9D-AA18-4CF0-B56F-39FCAEBC5F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40" name="Rectangle 44">
                <a:extLst>
                  <a:ext uri="{FF2B5EF4-FFF2-40B4-BE49-F238E27FC236}">
                    <a16:creationId xmlns:a16="http://schemas.microsoft.com/office/drawing/2014/main" id="{19F2F422-5791-46D9-B4EF-7A6B3FEEB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5" name="Slide edges">
              <a:extLst>
                <a:ext uri="{FF2B5EF4-FFF2-40B4-BE49-F238E27FC236}">
                  <a16:creationId xmlns:a16="http://schemas.microsoft.com/office/drawing/2014/main" id="{91A96CCE-1E1D-495D-B295-5DB0B79E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6" name="Footnote measure">
              <a:extLst>
                <a:ext uri="{FF2B5EF4-FFF2-40B4-BE49-F238E27FC236}">
                  <a16:creationId xmlns:a16="http://schemas.microsoft.com/office/drawing/2014/main" id="{082346B9-B2AB-4A25-BFF2-93A06510D7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117" name="Whitespace measure">
              <a:extLst>
                <a:ext uri="{FF2B5EF4-FFF2-40B4-BE49-F238E27FC236}">
                  <a16:creationId xmlns:a16="http://schemas.microsoft.com/office/drawing/2014/main" id="{8A89F410-D3E7-48FC-BC17-C16B289BD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118" name="Five column measure">
              <a:extLst>
                <a:ext uri="{FF2B5EF4-FFF2-40B4-BE49-F238E27FC236}">
                  <a16:creationId xmlns:a16="http://schemas.microsoft.com/office/drawing/2014/main" id="{AF0A0B4D-52AE-451B-BF63-A30764B88FC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21" name="Rectangle 5">
                <a:extLst>
                  <a:ext uri="{FF2B5EF4-FFF2-40B4-BE49-F238E27FC236}">
                    <a16:creationId xmlns:a16="http://schemas.microsoft.com/office/drawing/2014/main" id="{E4633997-92FB-4F33-ACEC-BACB0E100A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2" name="Rectangle 7">
                <a:extLst>
                  <a:ext uri="{FF2B5EF4-FFF2-40B4-BE49-F238E27FC236}">
                    <a16:creationId xmlns:a16="http://schemas.microsoft.com/office/drawing/2014/main" id="{1605E953-67F6-4A2E-9BA4-F92A05B0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3" name="Rectangle 9">
                <a:extLst>
                  <a:ext uri="{FF2B5EF4-FFF2-40B4-BE49-F238E27FC236}">
                    <a16:creationId xmlns:a16="http://schemas.microsoft.com/office/drawing/2014/main" id="{F634DDE8-781F-457F-97FB-43C53E5E84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4" name="Rectangle 11">
                <a:extLst>
                  <a:ext uri="{FF2B5EF4-FFF2-40B4-BE49-F238E27FC236}">
                    <a16:creationId xmlns:a16="http://schemas.microsoft.com/office/drawing/2014/main" id="{46C9C76A-4338-4B38-B390-FB55CDB05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5" name="Rectangle 13">
                <a:extLst>
                  <a:ext uri="{FF2B5EF4-FFF2-40B4-BE49-F238E27FC236}">
                    <a16:creationId xmlns:a16="http://schemas.microsoft.com/office/drawing/2014/main" id="{B256419B-BD9C-41DA-89E6-40B93C0B1A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9" name="Live area">
              <a:extLst>
                <a:ext uri="{FF2B5EF4-FFF2-40B4-BE49-F238E27FC236}">
                  <a16:creationId xmlns:a16="http://schemas.microsoft.com/office/drawing/2014/main" id="{4E8E0BA1-EDEF-43F8-B210-C8091C804194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120" name="ee4pFootnotes">
              <a:extLst>
                <a:ext uri="{FF2B5EF4-FFF2-40B4-BE49-F238E27FC236}">
                  <a16:creationId xmlns:a16="http://schemas.microsoft.com/office/drawing/2014/main" id="{97DE969B-57F2-4041-BB48-E2DE763F4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33168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0506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982FCF9-715C-428B-BF36-7A5FDD25DD11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AA51026-CFD8-4A3F-8CE3-E57CC80008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10EB070-E5FD-4DDE-AC6D-8D220B43C2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A19FD62A-4798-4917-A473-5F81A636E03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3" y="5570643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1CAD31A-51CF-4015-A4CF-439ED367950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B13BA057-D0D7-4048-A5E9-90EDED33BE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AA7AA96B-70E0-48A7-BF25-15A32D03D7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56417A15-B32C-4CA2-AAE3-DBFD5511B0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235615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350" cy="316640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26879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535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60997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2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defRPr>
            </a:lvl1pPr>
            <a:lvl2pPr marL="435529" indent="0" algn="ctr">
              <a:buNone/>
              <a:defRPr sz="1905"/>
            </a:lvl2pPr>
            <a:lvl3pPr marL="871057" indent="0" algn="ctr">
              <a:buNone/>
              <a:defRPr sz="1715"/>
            </a:lvl3pPr>
            <a:lvl4pPr marL="1306586" indent="0" algn="ctr">
              <a:buNone/>
              <a:defRPr sz="1524"/>
            </a:lvl4pPr>
            <a:lvl5pPr marL="1742115" indent="0" algn="ctr">
              <a:buNone/>
              <a:defRPr sz="1524"/>
            </a:lvl5pPr>
            <a:lvl6pPr marL="2177644" indent="0" algn="ctr">
              <a:buNone/>
              <a:defRPr sz="1524"/>
            </a:lvl6pPr>
            <a:lvl7pPr marL="2613172" indent="0" algn="ctr">
              <a:buNone/>
              <a:defRPr sz="1524"/>
            </a:lvl7pPr>
            <a:lvl8pPr marL="3048701" indent="0" algn="ctr">
              <a:buNone/>
              <a:defRPr sz="1524"/>
            </a:lvl8pPr>
            <a:lvl9pPr marL="3484230" indent="0" algn="ctr">
              <a:buNone/>
              <a:defRPr sz="1524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9"/>
            <a:ext cx="3744000" cy="664797"/>
          </a:xfrm>
        </p:spPr>
        <p:txBody>
          <a:bodyPr anchor="t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45958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6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4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264796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2"/>
            <a:ext cx="951721" cy="951721"/>
          </a:xfrm>
          <a:prstGeom prst="rect">
            <a:avLst/>
          </a:prstGeom>
          <a:noFill/>
          <a:ln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9901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88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93952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1"/>
            <a:ext cx="6276529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66247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8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8101584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06629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50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2074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5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6846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64397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3293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92373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9590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87000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7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9259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04933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8522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96126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3065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3EA541-4E4D-4939-9309-4E04950846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0CED86-5000-4D1F-9AF6-13B1DDE513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C77CF2-A593-4BCD-8638-7ADECE1E3D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Investors' Meet | Houston | Sept. 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D5E65C-5090-49BF-B12B-5D1F3EC598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7921F-79FB-4507-843B-8095BC767D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C68A2-2EC2-4D38-8FDE-9772B4695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7999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799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27828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15076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529390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439937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2361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200" cy="31664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57773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8300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18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07670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7118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29739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A391E1D-6927-4B36-986D-E693D888F8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F46813C-089B-42DD-93EF-4FAD03D8F41D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2198884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5002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8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10429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186EDF6-F493-451E-A790-F103405D687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E043909A-6757-45F3-BA9E-CD764990903A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F872CE8F-3F0B-4F10-9C46-F1971232C540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424B456A-ACDB-452F-A82C-A447A8022FC5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10EC6263-C735-435C-B5FB-A1A090D82696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BCFC957E-A1AA-4488-B4F7-E42719D90083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860ED8C1-914B-4FE2-B202-3EADDA88671B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D2D67AD1-78E4-4ACD-A2B4-E755EE0BC3EE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A2614495-B0AA-4BFB-AAFC-C277AB1903E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B31AC91-26B0-46CE-A559-6170B43B5436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4F3AC0CE-CAD1-4292-BAD3-251D546DBC98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EA7F5A4-1850-4AC2-9D22-F35FD755199B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EF02D1C-4F7D-42B1-949D-F6F32794F0CD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D7010C52-AD41-4AC8-BDDD-DDA0DAC1313A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A87E638F-7416-47FB-BC05-73E41DA33B52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05BD109-9013-4BAA-A2E0-E0D14BD8A6D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CB3C821B-BE4C-4939-90A7-7C674C6CC188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286A8CF5-F350-482E-A284-B52BD7223372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B06DE91-73BB-4FE0-B581-AC7421221637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5FDFD0DD-D795-4666-A1B7-830D6E1999DF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122FBAC-3E0E-4642-9209-057F14DBD9CA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328CBA-E718-4667-9ACD-A752E3933D74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3" name="Gutter space">
              <a:extLst>
                <a:ext uri="{FF2B5EF4-FFF2-40B4-BE49-F238E27FC236}">
                  <a16:creationId xmlns:a16="http://schemas.microsoft.com/office/drawing/2014/main" id="{376D823D-D34D-49F5-BE43-29837D19CF43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85" name="Rectangle 34">
                <a:extLst>
                  <a:ext uri="{FF2B5EF4-FFF2-40B4-BE49-F238E27FC236}">
                    <a16:creationId xmlns:a16="http://schemas.microsoft.com/office/drawing/2014/main" id="{F6FEF8DA-E406-4A77-BB5C-66785DE7D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6" name="Rectangle 35">
                <a:extLst>
                  <a:ext uri="{FF2B5EF4-FFF2-40B4-BE49-F238E27FC236}">
                    <a16:creationId xmlns:a16="http://schemas.microsoft.com/office/drawing/2014/main" id="{98BCAF4F-96B6-4583-ABA1-EA7180BC76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7" name="Rectangle 36">
                <a:extLst>
                  <a:ext uri="{FF2B5EF4-FFF2-40B4-BE49-F238E27FC236}">
                    <a16:creationId xmlns:a16="http://schemas.microsoft.com/office/drawing/2014/main" id="{63B3871A-9CEC-48D0-A7CD-4EB61563E0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8" name="Rectangle 37">
                <a:extLst>
                  <a:ext uri="{FF2B5EF4-FFF2-40B4-BE49-F238E27FC236}">
                    <a16:creationId xmlns:a16="http://schemas.microsoft.com/office/drawing/2014/main" id="{56091341-1622-4A44-AEBC-2C1A6C5E96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9" name="Rectangle 38">
                <a:extLst>
                  <a:ext uri="{FF2B5EF4-FFF2-40B4-BE49-F238E27FC236}">
                    <a16:creationId xmlns:a16="http://schemas.microsoft.com/office/drawing/2014/main" id="{FDCA88BD-8A0B-4803-8BCD-DBCFE50665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0" name="Rectangle 39">
                <a:extLst>
                  <a:ext uri="{FF2B5EF4-FFF2-40B4-BE49-F238E27FC236}">
                    <a16:creationId xmlns:a16="http://schemas.microsoft.com/office/drawing/2014/main" id="{1752D24A-95D1-4BF5-942F-7403FFC979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1" name="Rectangle 40">
                <a:extLst>
                  <a:ext uri="{FF2B5EF4-FFF2-40B4-BE49-F238E27FC236}">
                    <a16:creationId xmlns:a16="http://schemas.microsoft.com/office/drawing/2014/main" id="{DDAD0B10-607F-4F76-B8E2-856CEFF459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2" name="Rectangle 41">
                <a:extLst>
                  <a:ext uri="{FF2B5EF4-FFF2-40B4-BE49-F238E27FC236}">
                    <a16:creationId xmlns:a16="http://schemas.microsoft.com/office/drawing/2014/main" id="{D86AE034-410A-4325-8973-EAF7C3B581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3" name="Rectangle 42">
                <a:extLst>
                  <a:ext uri="{FF2B5EF4-FFF2-40B4-BE49-F238E27FC236}">
                    <a16:creationId xmlns:a16="http://schemas.microsoft.com/office/drawing/2014/main" id="{420697CC-D29F-47F9-B11D-10251B5B9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4" name="Rectangle 43">
                <a:extLst>
                  <a:ext uri="{FF2B5EF4-FFF2-40B4-BE49-F238E27FC236}">
                    <a16:creationId xmlns:a16="http://schemas.microsoft.com/office/drawing/2014/main" id="{73620A14-7B53-4E94-B3B4-C239CA820B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5" name="Rectangle 44">
                <a:extLst>
                  <a:ext uri="{FF2B5EF4-FFF2-40B4-BE49-F238E27FC236}">
                    <a16:creationId xmlns:a16="http://schemas.microsoft.com/office/drawing/2014/main" id="{036C0721-D3AE-432E-B178-520AFE536C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4" name="Slide edges">
              <a:extLst>
                <a:ext uri="{FF2B5EF4-FFF2-40B4-BE49-F238E27FC236}">
                  <a16:creationId xmlns:a16="http://schemas.microsoft.com/office/drawing/2014/main" id="{00D602B6-43AC-4014-A447-2EE61049D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5" name="Footnote measure">
              <a:extLst>
                <a:ext uri="{FF2B5EF4-FFF2-40B4-BE49-F238E27FC236}">
                  <a16:creationId xmlns:a16="http://schemas.microsoft.com/office/drawing/2014/main" id="{2B634860-1500-42B7-B1D9-3DEC0117C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76" name="Whitespace measure">
              <a:extLst>
                <a:ext uri="{FF2B5EF4-FFF2-40B4-BE49-F238E27FC236}">
                  <a16:creationId xmlns:a16="http://schemas.microsoft.com/office/drawing/2014/main" id="{93F63E8E-37C1-4FB4-9789-977EBD9DF9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77" name="Five column measure">
              <a:extLst>
                <a:ext uri="{FF2B5EF4-FFF2-40B4-BE49-F238E27FC236}">
                  <a16:creationId xmlns:a16="http://schemas.microsoft.com/office/drawing/2014/main" id="{1AAD3B61-EA13-412D-A034-51AC471AC5AC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80" name="Rectangle 5">
                <a:extLst>
                  <a:ext uri="{FF2B5EF4-FFF2-40B4-BE49-F238E27FC236}">
                    <a16:creationId xmlns:a16="http://schemas.microsoft.com/office/drawing/2014/main" id="{5506CC4E-A9C4-438F-9A3F-96182A75E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1" name="Rectangle 7">
                <a:extLst>
                  <a:ext uri="{FF2B5EF4-FFF2-40B4-BE49-F238E27FC236}">
                    <a16:creationId xmlns:a16="http://schemas.microsoft.com/office/drawing/2014/main" id="{1F032728-5EDC-495D-8244-DE0BE42A5B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2" name="Rectangle 9">
                <a:extLst>
                  <a:ext uri="{FF2B5EF4-FFF2-40B4-BE49-F238E27FC236}">
                    <a16:creationId xmlns:a16="http://schemas.microsoft.com/office/drawing/2014/main" id="{2D75812C-FA03-4CBC-8BB2-F5CF950F07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3" name="Rectangle 11">
                <a:extLst>
                  <a:ext uri="{FF2B5EF4-FFF2-40B4-BE49-F238E27FC236}">
                    <a16:creationId xmlns:a16="http://schemas.microsoft.com/office/drawing/2014/main" id="{9FCE93D4-CE77-4D88-9735-6FCAC5F241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4" name="Rectangle 13">
                <a:extLst>
                  <a:ext uri="{FF2B5EF4-FFF2-40B4-BE49-F238E27FC236}">
                    <a16:creationId xmlns:a16="http://schemas.microsoft.com/office/drawing/2014/main" id="{EB18EFE9-FEC5-48E0-BA3E-10C3C75A80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8" name="Live area">
              <a:extLst>
                <a:ext uri="{FF2B5EF4-FFF2-40B4-BE49-F238E27FC236}">
                  <a16:creationId xmlns:a16="http://schemas.microsoft.com/office/drawing/2014/main" id="{E1464F76-1617-4CCA-8871-DB77ECCB8E8D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79" name="ee4pFootnotes">
              <a:extLst>
                <a:ext uri="{FF2B5EF4-FFF2-40B4-BE49-F238E27FC236}">
                  <a16:creationId xmlns:a16="http://schemas.microsoft.com/office/drawing/2014/main" id="{8483420E-9242-4947-B5F3-1922B03C5B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0008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7" y="4691188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8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200"/>
            <a:ext cx="3448800" cy="116260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144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68518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587848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1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480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9060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5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2" y="3207716"/>
            <a:ext cx="1547143" cy="4221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3048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40937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7" y="4691188"/>
            <a:ext cx="929337" cy="995874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8"/>
            <a:ext cx="1570152" cy="1468176"/>
          </a:xfrm>
          <a:prstGeom prst="rect">
            <a:avLst/>
          </a:prstGeom>
          <a:noFill/>
          <a:ln w="9525" cmpd="sng">
            <a:solidFill>
              <a:srgbClr val="4472C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162606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144">
                <a:solidFill>
                  <a:srgbClr val="4472C4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1650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12267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1"/>
            <a:ext cx="9619200" cy="3200400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096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rgbClr val="4472C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959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5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2" y="3262146"/>
            <a:ext cx="1161047" cy="3165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2286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76634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4472C4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9701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9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17237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310" y="268131"/>
            <a:ext cx="11933381" cy="316640"/>
          </a:xfrm>
        </p:spPr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207102"/>
            <a:ext cx="1482051" cy="351822"/>
          </a:xfrm>
        </p:spPr>
        <p:txBody>
          <a:bodyPr/>
          <a:lstStyle>
            <a:lvl1pPr>
              <a:defRPr sz="1143"/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43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334"/>
            </a:lvl1pPr>
          </a:lstStyle>
          <a:p>
            <a:fld id="{629637A9-119A-49DA-BD12-AAC58B377D80}" type="slidenum">
              <a:rPr lang="en-US" smtClean="0"/>
              <a:pPr/>
              <a:t>‹#›</a:t>
            </a:fld>
            <a:endParaRPr lang="en-US" sz="1334"/>
          </a:p>
        </p:txBody>
      </p:sp>
    </p:spTree>
    <p:extLst>
      <p:ext uri="{BB962C8B-B14F-4D97-AF65-F5344CB8AC3E}">
        <p14:creationId xmlns:p14="http://schemas.microsoft.com/office/powerpoint/2010/main" val="195760039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1976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82C103E6-56C0-4803-91FF-919D27F75820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DC84CFD-DDA8-40AC-B7BC-774D356E8F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5C5F7BC-6CB5-4CB3-84A5-E064690BD1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C3825231-F16B-47F4-BB89-AF2B79C488B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3" y="5570643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28D422-7258-4118-BAB2-F0AF6381E74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C9A652C-DEE4-4F9F-8889-3FABCF7248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57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38136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48573"/>
          </a:xfrm>
        </p:spPr>
        <p:txBody>
          <a:bodyPr/>
          <a:lstStyle>
            <a:lvl1pPr>
              <a:defRPr sz="3239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1" y="2085629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7986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2358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4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2847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1377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2836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78296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5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7743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8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7" y="-1305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7173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2330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19567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7734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 baseline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2396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048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7005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667931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7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2400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22630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5408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3470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810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19412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90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9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97675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157669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575189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907771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5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</p:spPr>
        <p:txBody>
          <a:bodyPr/>
          <a:lstStyle>
            <a:lvl1pPr>
              <a:defRPr sz="323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29826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35285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1413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05633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767324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B9A61024-EF5F-4D4F-8BEF-C9DBCF564F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0929A6-AA90-4BE3-A794-0C9DA8110263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1764677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79B06C1F-BB85-4DD7-B99A-DE6BE2F699C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3" name="No fly zone">
              <a:extLst>
                <a:ext uri="{FF2B5EF4-FFF2-40B4-BE49-F238E27FC236}">
                  <a16:creationId xmlns:a16="http://schemas.microsoft.com/office/drawing/2014/main" id="{5BE0206C-E9B7-44A8-B943-39660205FFA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6337A840-7DC0-44AB-B1D6-EEA32C8B4FFF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02CE8B9F-CF74-486E-8634-47F3455D7F2D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FB3B3C51-92CF-4CD7-9E57-C4206779197F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E36E2FB8-DA38-4FE0-8765-211B76ECEFA6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4F497A31-60DA-449B-9477-F9EFB4F4C7C5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B1EDE6F6-F4BD-40E6-ADCB-BCF1358D3F17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5FE8841-2C54-47C8-B29A-6E562E40547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40F52F3-8235-418B-8A74-6FE060B1D171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4CED132E-8CB2-465D-BA02-5D07BC58FF6C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141DBDBF-5CF1-464A-8209-EEC64DE672DA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8C2A0870-87CA-4483-B1C8-3E52F3294870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E199BE98-9C1A-4188-9C5A-B4EE7733452F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F4D550D7-72C3-4DF6-9EE5-EFD724B89527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42FEA2-0098-4367-BA36-5DFF52FE0EA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A56E5925-2BB3-4C0F-B709-714DA8FF1B55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DDE3DD4A-5257-4C0B-9CC5-00D2F632BDF6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05663B1F-B5C3-4E8C-8420-3D1B2EE18F90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D2BCC30-7703-4A29-8729-0D826001A675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689E7287-E05F-4EBF-840B-40D19EE0571F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AAB3F59B-6834-4139-9D02-58D5CCDFE130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4" name="Gutter space">
              <a:extLst>
                <a:ext uri="{FF2B5EF4-FFF2-40B4-BE49-F238E27FC236}">
                  <a16:creationId xmlns:a16="http://schemas.microsoft.com/office/drawing/2014/main" id="{8FD8D4DB-AB91-454E-B1BA-BB0E90D6E750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26" name="Rectangle 34">
                <a:extLst>
                  <a:ext uri="{FF2B5EF4-FFF2-40B4-BE49-F238E27FC236}">
                    <a16:creationId xmlns:a16="http://schemas.microsoft.com/office/drawing/2014/main" id="{CC2A1031-8BB8-42DB-A99C-D58B835307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7" name="Rectangle 35">
                <a:extLst>
                  <a:ext uri="{FF2B5EF4-FFF2-40B4-BE49-F238E27FC236}">
                    <a16:creationId xmlns:a16="http://schemas.microsoft.com/office/drawing/2014/main" id="{91BF26E8-7A30-48EF-8F02-663BFEE98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8" name="Rectangle 36">
                <a:extLst>
                  <a:ext uri="{FF2B5EF4-FFF2-40B4-BE49-F238E27FC236}">
                    <a16:creationId xmlns:a16="http://schemas.microsoft.com/office/drawing/2014/main" id="{C2A80C6B-A60A-478C-95C0-01EF0BAF7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9" name="Rectangle 37">
                <a:extLst>
                  <a:ext uri="{FF2B5EF4-FFF2-40B4-BE49-F238E27FC236}">
                    <a16:creationId xmlns:a16="http://schemas.microsoft.com/office/drawing/2014/main" id="{F69D71B4-E7BF-4198-8F31-BC36AF934C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0" name="Rectangle 38">
                <a:extLst>
                  <a:ext uri="{FF2B5EF4-FFF2-40B4-BE49-F238E27FC236}">
                    <a16:creationId xmlns:a16="http://schemas.microsoft.com/office/drawing/2014/main" id="{61C51D5A-AABF-4FE9-A7B4-B957834B16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1" name="Rectangle 39">
                <a:extLst>
                  <a:ext uri="{FF2B5EF4-FFF2-40B4-BE49-F238E27FC236}">
                    <a16:creationId xmlns:a16="http://schemas.microsoft.com/office/drawing/2014/main" id="{980D98DE-5C59-4489-888E-0E53D8EBBD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2" name="Rectangle 40">
                <a:extLst>
                  <a:ext uri="{FF2B5EF4-FFF2-40B4-BE49-F238E27FC236}">
                    <a16:creationId xmlns:a16="http://schemas.microsoft.com/office/drawing/2014/main" id="{0FEBCA4B-01F4-4022-A743-78551281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3" name="Rectangle 41">
                <a:extLst>
                  <a:ext uri="{FF2B5EF4-FFF2-40B4-BE49-F238E27FC236}">
                    <a16:creationId xmlns:a16="http://schemas.microsoft.com/office/drawing/2014/main" id="{C6C94FE9-ACF6-466B-8BFC-90AF10F8D8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8" name="Rectangle 42">
                <a:extLst>
                  <a:ext uri="{FF2B5EF4-FFF2-40B4-BE49-F238E27FC236}">
                    <a16:creationId xmlns:a16="http://schemas.microsoft.com/office/drawing/2014/main" id="{8FD84607-9D05-4CFF-85C0-30A674044D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9" name="Rectangle 43">
                <a:extLst>
                  <a:ext uri="{FF2B5EF4-FFF2-40B4-BE49-F238E27FC236}">
                    <a16:creationId xmlns:a16="http://schemas.microsoft.com/office/drawing/2014/main" id="{314CFB9D-AA18-4CF0-B56F-39FCAEBC5F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40" name="Rectangle 44">
                <a:extLst>
                  <a:ext uri="{FF2B5EF4-FFF2-40B4-BE49-F238E27FC236}">
                    <a16:creationId xmlns:a16="http://schemas.microsoft.com/office/drawing/2014/main" id="{19F2F422-5791-46D9-B4EF-7A6B3FEEB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5" name="Slide edges">
              <a:extLst>
                <a:ext uri="{FF2B5EF4-FFF2-40B4-BE49-F238E27FC236}">
                  <a16:creationId xmlns:a16="http://schemas.microsoft.com/office/drawing/2014/main" id="{91A96CCE-1E1D-495D-B295-5DB0B79E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6" name="Footnote measure">
              <a:extLst>
                <a:ext uri="{FF2B5EF4-FFF2-40B4-BE49-F238E27FC236}">
                  <a16:creationId xmlns:a16="http://schemas.microsoft.com/office/drawing/2014/main" id="{082346B9-B2AB-4A25-BFF2-93A06510D7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117" name="Whitespace measure">
              <a:extLst>
                <a:ext uri="{FF2B5EF4-FFF2-40B4-BE49-F238E27FC236}">
                  <a16:creationId xmlns:a16="http://schemas.microsoft.com/office/drawing/2014/main" id="{8A89F410-D3E7-48FC-BC17-C16B289BD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118" name="Five column measure">
              <a:extLst>
                <a:ext uri="{FF2B5EF4-FFF2-40B4-BE49-F238E27FC236}">
                  <a16:creationId xmlns:a16="http://schemas.microsoft.com/office/drawing/2014/main" id="{AF0A0B4D-52AE-451B-BF63-A30764B88FC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21" name="Rectangle 5">
                <a:extLst>
                  <a:ext uri="{FF2B5EF4-FFF2-40B4-BE49-F238E27FC236}">
                    <a16:creationId xmlns:a16="http://schemas.microsoft.com/office/drawing/2014/main" id="{E4633997-92FB-4F33-ACEC-BACB0E100A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2" name="Rectangle 7">
                <a:extLst>
                  <a:ext uri="{FF2B5EF4-FFF2-40B4-BE49-F238E27FC236}">
                    <a16:creationId xmlns:a16="http://schemas.microsoft.com/office/drawing/2014/main" id="{1605E953-67F6-4A2E-9BA4-F92A05B0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3" name="Rectangle 9">
                <a:extLst>
                  <a:ext uri="{FF2B5EF4-FFF2-40B4-BE49-F238E27FC236}">
                    <a16:creationId xmlns:a16="http://schemas.microsoft.com/office/drawing/2014/main" id="{F634DDE8-781F-457F-97FB-43C53E5E84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4" name="Rectangle 11">
                <a:extLst>
                  <a:ext uri="{FF2B5EF4-FFF2-40B4-BE49-F238E27FC236}">
                    <a16:creationId xmlns:a16="http://schemas.microsoft.com/office/drawing/2014/main" id="{46C9C76A-4338-4B38-B390-FB55CDB05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5" name="Rectangle 13">
                <a:extLst>
                  <a:ext uri="{FF2B5EF4-FFF2-40B4-BE49-F238E27FC236}">
                    <a16:creationId xmlns:a16="http://schemas.microsoft.com/office/drawing/2014/main" id="{B256419B-BD9C-41DA-89E6-40B93C0B1A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9" name="Live area">
              <a:extLst>
                <a:ext uri="{FF2B5EF4-FFF2-40B4-BE49-F238E27FC236}">
                  <a16:creationId xmlns:a16="http://schemas.microsoft.com/office/drawing/2014/main" id="{4E8E0BA1-EDEF-43F8-B210-C8091C804194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120" name="ee4pFootnotes">
              <a:extLst>
                <a:ext uri="{FF2B5EF4-FFF2-40B4-BE49-F238E27FC236}">
                  <a16:creationId xmlns:a16="http://schemas.microsoft.com/office/drawing/2014/main" id="{97DE969B-57F2-4041-BB48-E2DE763F4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6961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0847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982FCF9-715C-428B-BF36-7A5FDD25DD11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AA51026-CFD8-4A3F-8CE3-E57CC80008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10EB070-E5FD-4DDE-AC6D-8D220B43C2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A19FD62A-4798-4917-A473-5F81A636E03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3" y="5570643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1CAD31A-51CF-4015-A4CF-439ED367950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B13BA057-D0D7-4048-A5E9-90EDED33BE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AA7AA96B-70E0-48A7-BF25-15A32D03D7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56417A15-B32C-4CA2-AAE3-DBFD5511B0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580756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2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51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33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4" y="3919570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948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350" cy="316640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44750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535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379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2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defRPr>
            </a:lvl1pPr>
            <a:lvl2pPr marL="435529" indent="0" algn="ctr">
              <a:buNone/>
              <a:defRPr sz="1905"/>
            </a:lvl2pPr>
            <a:lvl3pPr marL="871057" indent="0" algn="ctr">
              <a:buNone/>
              <a:defRPr sz="1715"/>
            </a:lvl3pPr>
            <a:lvl4pPr marL="1306586" indent="0" algn="ctr">
              <a:buNone/>
              <a:defRPr sz="1524"/>
            </a:lvl4pPr>
            <a:lvl5pPr marL="1742115" indent="0" algn="ctr">
              <a:buNone/>
              <a:defRPr sz="1524"/>
            </a:lvl5pPr>
            <a:lvl6pPr marL="2177644" indent="0" algn="ctr">
              <a:buNone/>
              <a:defRPr sz="1524"/>
            </a:lvl6pPr>
            <a:lvl7pPr marL="2613172" indent="0" algn="ctr">
              <a:buNone/>
              <a:defRPr sz="1524"/>
            </a:lvl7pPr>
            <a:lvl8pPr marL="3048701" indent="0" algn="ctr">
              <a:buNone/>
              <a:defRPr sz="1524"/>
            </a:lvl8pPr>
            <a:lvl9pPr marL="3484230" indent="0" algn="ctr">
              <a:buNone/>
              <a:defRPr sz="1524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9"/>
            <a:ext cx="3744000" cy="664797"/>
          </a:xfrm>
        </p:spPr>
        <p:txBody>
          <a:bodyPr anchor="t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06851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6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4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264796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2"/>
            <a:ext cx="951721" cy="951721"/>
          </a:xfrm>
          <a:prstGeom prst="rect">
            <a:avLst/>
          </a:prstGeom>
          <a:noFill/>
          <a:ln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148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4238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52264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1"/>
            <a:ext cx="6276529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0949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8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8101584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0517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5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539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987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 baseline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2190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9780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222629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2248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24952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7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611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9676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5879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4189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5763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29148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885293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048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32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48081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811485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769555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788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200" cy="31664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67558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912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992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98873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3460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24384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A391E1D-6927-4B36-986D-E693D888F8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F46813C-089B-42DD-93EF-4FAD03D8F41D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1614547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186EDF6-F493-451E-A790-F103405D687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E043909A-6757-45F3-BA9E-CD764990903A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F872CE8F-3F0B-4F10-9C46-F1971232C540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424B456A-ACDB-452F-A82C-A447A8022FC5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10EC6263-C735-435C-B5FB-A1A090D82696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BCFC957E-A1AA-4488-B4F7-E42719D90083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860ED8C1-914B-4FE2-B202-3EADDA88671B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D2D67AD1-78E4-4ACD-A2B4-E755EE0BC3EE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A2614495-B0AA-4BFB-AAFC-C277AB1903E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B31AC91-26B0-46CE-A559-6170B43B5436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4F3AC0CE-CAD1-4292-BAD3-251D546DBC98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EA7F5A4-1850-4AC2-9D22-F35FD755199B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EF02D1C-4F7D-42B1-949D-F6F32794F0CD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D7010C52-AD41-4AC8-BDDD-DDA0DAC1313A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A87E638F-7416-47FB-BC05-73E41DA33B52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05BD109-9013-4BAA-A2E0-E0D14BD8A6D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CB3C821B-BE4C-4939-90A7-7C674C6CC188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286A8CF5-F350-482E-A284-B52BD7223372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B06DE91-73BB-4FE0-B581-AC7421221637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5FDFD0DD-D795-4666-A1B7-830D6E1999DF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122FBAC-3E0E-4642-9209-057F14DBD9CA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328CBA-E718-4667-9ACD-A752E3933D74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3" name="Gutter space">
              <a:extLst>
                <a:ext uri="{FF2B5EF4-FFF2-40B4-BE49-F238E27FC236}">
                  <a16:creationId xmlns:a16="http://schemas.microsoft.com/office/drawing/2014/main" id="{376D823D-D34D-49F5-BE43-29837D19CF43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85" name="Rectangle 34">
                <a:extLst>
                  <a:ext uri="{FF2B5EF4-FFF2-40B4-BE49-F238E27FC236}">
                    <a16:creationId xmlns:a16="http://schemas.microsoft.com/office/drawing/2014/main" id="{F6FEF8DA-E406-4A77-BB5C-66785DE7D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6" name="Rectangle 35">
                <a:extLst>
                  <a:ext uri="{FF2B5EF4-FFF2-40B4-BE49-F238E27FC236}">
                    <a16:creationId xmlns:a16="http://schemas.microsoft.com/office/drawing/2014/main" id="{98BCAF4F-96B6-4583-ABA1-EA7180BC76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7" name="Rectangle 36">
                <a:extLst>
                  <a:ext uri="{FF2B5EF4-FFF2-40B4-BE49-F238E27FC236}">
                    <a16:creationId xmlns:a16="http://schemas.microsoft.com/office/drawing/2014/main" id="{63B3871A-9CEC-48D0-A7CD-4EB61563E0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8" name="Rectangle 37">
                <a:extLst>
                  <a:ext uri="{FF2B5EF4-FFF2-40B4-BE49-F238E27FC236}">
                    <a16:creationId xmlns:a16="http://schemas.microsoft.com/office/drawing/2014/main" id="{56091341-1622-4A44-AEBC-2C1A6C5E96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9" name="Rectangle 38">
                <a:extLst>
                  <a:ext uri="{FF2B5EF4-FFF2-40B4-BE49-F238E27FC236}">
                    <a16:creationId xmlns:a16="http://schemas.microsoft.com/office/drawing/2014/main" id="{FDCA88BD-8A0B-4803-8BCD-DBCFE50665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0" name="Rectangle 39">
                <a:extLst>
                  <a:ext uri="{FF2B5EF4-FFF2-40B4-BE49-F238E27FC236}">
                    <a16:creationId xmlns:a16="http://schemas.microsoft.com/office/drawing/2014/main" id="{1752D24A-95D1-4BF5-942F-7403FFC979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1" name="Rectangle 40">
                <a:extLst>
                  <a:ext uri="{FF2B5EF4-FFF2-40B4-BE49-F238E27FC236}">
                    <a16:creationId xmlns:a16="http://schemas.microsoft.com/office/drawing/2014/main" id="{DDAD0B10-607F-4F76-B8E2-856CEFF459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2" name="Rectangle 41">
                <a:extLst>
                  <a:ext uri="{FF2B5EF4-FFF2-40B4-BE49-F238E27FC236}">
                    <a16:creationId xmlns:a16="http://schemas.microsoft.com/office/drawing/2014/main" id="{D86AE034-410A-4325-8973-EAF7C3B581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3" name="Rectangle 42">
                <a:extLst>
                  <a:ext uri="{FF2B5EF4-FFF2-40B4-BE49-F238E27FC236}">
                    <a16:creationId xmlns:a16="http://schemas.microsoft.com/office/drawing/2014/main" id="{420697CC-D29F-47F9-B11D-10251B5B9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4" name="Rectangle 43">
                <a:extLst>
                  <a:ext uri="{FF2B5EF4-FFF2-40B4-BE49-F238E27FC236}">
                    <a16:creationId xmlns:a16="http://schemas.microsoft.com/office/drawing/2014/main" id="{73620A14-7B53-4E94-B3B4-C239CA820B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5" name="Rectangle 44">
                <a:extLst>
                  <a:ext uri="{FF2B5EF4-FFF2-40B4-BE49-F238E27FC236}">
                    <a16:creationId xmlns:a16="http://schemas.microsoft.com/office/drawing/2014/main" id="{036C0721-D3AE-432E-B178-520AFE536C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4" name="Slide edges">
              <a:extLst>
                <a:ext uri="{FF2B5EF4-FFF2-40B4-BE49-F238E27FC236}">
                  <a16:creationId xmlns:a16="http://schemas.microsoft.com/office/drawing/2014/main" id="{00D602B6-43AC-4014-A447-2EE61049D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5" name="Footnote measure">
              <a:extLst>
                <a:ext uri="{FF2B5EF4-FFF2-40B4-BE49-F238E27FC236}">
                  <a16:creationId xmlns:a16="http://schemas.microsoft.com/office/drawing/2014/main" id="{2B634860-1500-42B7-B1D9-3DEC0117C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76" name="Whitespace measure">
              <a:extLst>
                <a:ext uri="{FF2B5EF4-FFF2-40B4-BE49-F238E27FC236}">
                  <a16:creationId xmlns:a16="http://schemas.microsoft.com/office/drawing/2014/main" id="{93F63E8E-37C1-4FB4-9789-977EBD9DF9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77" name="Five column measure">
              <a:extLst>
                <a:ext uri="{FF2B5EF4-FFF2-40B4-BE49-F238E27FC236}">
                  <a16:creationId xmlns:a16="http://schemas.microsoft.com/office/drawing/2014/main" id="{1AAD3B61-EA13-412D-A034-51AC471AC5AC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80" name="Rectangle 5">
                <a:extLst>
                  <a:ext uri="{FF2B5EF4-FFF2-40B4-BE49-F238E27FC236}">
                    <a16:creationId xmlns:a16="http://schemas.microsoft.com/office/drawing/2014/main" id="{5506CC4E-A9C4-438F-9A3F-96182A75E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1" name="Rectangle 7">
                <a:extLst>
                  <a:ext uri="{FF2B5EF4-FFF2-40B4-BE49-F238E27FC236}">
                    <a16:creationId xmlns:a16="http://schemas.microsoft.com/office/drawing/2014/main" id="{1F032728-5EDC-495D-8244-DE0BE42A5B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2" name="Rectangle 9">
                <a:extLst>
                  <a:ext uri="{FF2B5EF4-FFF2-40B4-BE49-F238E27FC236}">
                    <a16:creationId xmlns:a16="http://schemas.microsoft.com/office/drawing/2014/main" id="{2D75812C-FA03-4CBC-8BB2-F5CF950F07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3" name="Rectangle 11">
                <a:extLst>
                  <a:ext uri="{FF2B5EF4-FFF2-40B4-BE49-F238E27FC236}">
                    <a16:creationId xmlns:a16="http://schemas.microsoft.com/office/drawing/2014/main" id="{9FCE93D4-CE77-4D88-9735-6FCAC5F241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4" name="Rectangle 13">
                <a:extLst>
                  <a:ext uri="{FF2B5EF4-FFF2-40B4-BE49-F238E27FC236}">
                    <a16:creationId xmlns:a16="http://schemas.microsoft.com/office/drawing/2014/main" id="{EB18EFE9-FEC5-48E0-BA3E-10C3C75A80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8" name="Live area">
              <a:extLst>
                <a:ext uri="{FF2B5EF4-FFF2-40B4-BE49-F238E27FC236}">
                  <a16:creationId xmlns:a16="http://schemas.microsoft.com/office/drawing/2014/main" id="{E1464F76-1617-4CCA-8871-DB77ECCB8E8D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79" name="ee4pFootnotes">
              <a:extLst>
                <a:ext uri="{FF2B5EF4-FFF2-40B4-BE49-F238E27FC236}">
                  <a16:creationId xmlns:a16="http://schemas.microsoft.com/office/drawing/2014/main" id="{8483420E-9242-4947-B5F3-1922B03C5B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07562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7" y="4691188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8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200"/>
            <a:ext cx="3448800" cy="116260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144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6446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9362898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8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33" y="3394396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9734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32924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1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7607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760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5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2" y="3207716"/>
            <a:ext cx="1547143" cy="4221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3048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84082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7" y="4691188"/>
            <a:ext cx="929337" cy="995874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8"/>
            <a:ext cx="1570152" cy="1468176"/>
          </a:xfrm>
          <a:prstGeom prst="rect">
            <a:avLst/>
          </a:prstGeom>
          <a:noFill/>
          <a:ln w="9525" cmpd="sng">
            <a:solidFill>
              <a:srgbClr val="4472C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162606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144">
                <a:solidFill>
                  <a:srgbClr val="4472C4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56915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844424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1"/>
            <a:ext cx="9619200" cy="3200400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807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rgbClr val="4472C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1973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5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2" y="3262146"/>
            <a:ext cx="1161047" cy="3165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2286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1859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4472C4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3891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7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715"/>
          </a:p>
        </p:txBody>
      </p:sp>
      <p:sp>
        <p:nvSpPr>
          <p:cNvPr id="8" name="Rectangle 7"/>
          <p:cNvSpPr/>
          <p:nvPr/>
        </p:nvSpPr>
        <p:spPr>
          <a:xfrm>
            <a:off x="17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715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3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7621" spc="-48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286" cap="all" spc="191" baseline="0">
                <a:solidFill>
                  <a:schemeClr val="tx2"/>
                </a:solidFill>
                <a:latin typeface="+mj-lt"/>
              </a:defRPr>
            </a:lvl1pPr>
            <a:lvl2pPr marL="435529" indent="0" algn="ctr">
              <a:buNone/>
              <a:defRPr sz="2286"/>
            </a:lvl2pPr>
            <a:lvl3pPr marL="871057" indent="0" algn="ctr">
              <a:buNone/>
              <a:defRPr sz="2286"/>
            </a:lvl3pPr>
            <a:lvl4pPr marL="1306586" indent="0" algn="ctr">
              <a:buNone/>
              <a:defRPr sz="1905"/>
            </a:lvl4pPr>
            <a:lvl5pPr marL="1742115" indent="0" algn="ctr">
              <a:buNone/>
              <a:defRPr sz="1905"/>
            </a:lvl5pPr>
            <a:lvl6pPr marL="2177644" indent="0" algn="ctr">
              <a:buNone/>
              <a:defRPr sz="1905"/>
            </a:lvl6pPr>
            <a:lvl7pPr marL="2613172" indent="0" algn="ctr">
              <a:buNone/>
              <a:defRPr sz="1905"/>
            </a:lvl7pPr>
            <a:lvl8pPr marL="3048701" indent="0" algn="ctr">
              <a:buNone/>
              <a:defRPr sz="1905"/>
            </a:lvl8pPr>
            <a:lvl9pPr marL="3484230" indent="0" algn="ctr">
              <a:buNone/>
              <a:defRPr sz="1905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3" y="6562828"/>
            <a:ext cx="1482051" cy="322524"/>
          </a:xfrm>
        </p:spPr>
        <p:txBody>
          <a:bodyPr/>
          <a:lstStyle>
            <a:lvl1pPr>
              <a:defRPr sz="1048"/>
            </a:lvl1pPr>
          </a:lstStyle>
          <a:p>
            <a:r>
              <a:rPr lang="en-US"/>
              <a:t>Investors' Meet | Houston | Sept. 2022</a:t>
            </a:r>
            <a:endParaRPr lang="en-US" sz="1048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48"/>
            </a:lvl1pPr>
          </a:lstStyle>
          <a:p>
            <a:endParaRPr lang="en-US" sz="1048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334"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831754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310" y="268131"/>
            <a:ext cx="11933381" cy="316640"/>
          </a:xfrm>
        </p:spPr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207102"/>
            <a:ext cx="1482051" cy="351822"/>
          </a:xfrm>
        </p:spPr>
        <p:txBody>
          <a:bodyPr/>
          <a:lstStyle>
            <a:lvl1pPr>
              <a:defRPr sz="1143"/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43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334"/>
            </a:lvl1pPr>
          </a:lstStyle>
          <a:p>
            <a:fld id="{629637A9-119A-49DA-BD12-AAC58B377D80}" type="slidenum">
              <a:rPr lang="en-US" smtClean="0"/>
              <a:pPr/>
              <a:t>‹#›</a:t>
            </a:fld>
            <a:endParaRPr lang="en-US" sz="1334"/>
          </a:p>
        </p:txBody>
      </p:sp>
    </p:spTree>
    <p:extLst>
      <p:ext uri="{BB962C8B-B14F-4D97-AF65-F5344CB8AC3E}">
        <p14:creationId xmlns:p14="http://schemas.microsoft.com/office/powerpoint/2010/main" val="5837165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8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4281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5853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82C103E6-56C0-4803-91FF-919D27F75820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DC84CFD-DDA8-40AC-B7BC-774D356E8F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5C5F7BC-6CB5-4CB3-84A5-E064690BD1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C3825231-F16B-47F4-BB89-AF2B79C488B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3" y="5570643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28D422-7258-4118-BAB2-F0AF6381E74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C9A652C-DEE4-4F9F-8889-3FABCF7248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0389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6991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48573"/>
          </a:xfrm>
        </p:spPr>
        <p:txBody>
          <a:bodyPr/>
          <a:lstStyle>
            <a:lvl1pPr>
              <a:defRPr sz="3239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1" y="2085629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75511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85145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4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233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5963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21271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28613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5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130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5635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792BB2-1160-45BD-A95D-B21850C1AD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7CBE3C-1DAB-4240-81AB-974E700FF2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07B8C9-8307-4B84-A876-10D59E67B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Investors' Meet | Houston | Sept. 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1EB1A6-E8C7-41D2-9AB1-BE40628B37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E0242D-E9CF-41BD-BFDE-BB853CBD6E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C68A2-2EC2-4D38-8FDE-9772B4695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738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10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591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19567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41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 baseline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9912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048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2043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972347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7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3558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78061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479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45583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8312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02236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65395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7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02766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442894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16550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611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</p:spPr>
        <p:txBody>
          <a:bodyPr/>
          <a:lstStyle>
            <a:lvl1pPr>
              <a:defRPr sz="323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15023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97283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2335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94815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86284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B9A61024-EF5F-4D4F-8BEF-C9DBCF564F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0929A6-AA90-4BE3-A794-0C9DA8110263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228610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79B06C1F-BB85-4DD7-B99A-DE6BE2F699C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3" name="No fly zone">
              <a:extLst>
                <a:ext uri="{FF2B5EF4-FFF2-40B4-BE49-F238E27FC236}">
                  <a16:creationId xmlns:a16="http://schemas.microsoft.com/office/drawing/2014/main" id="{5BE0206C-E9B7-44A8-B943-39660205FFA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6337A840-7DC0-44AB-B1D6-EEA32C8B4FFF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02CE8B9F-CF74-486E-8634-47F3455D7F2D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FB3B3C51-92CF-4CD7-9E57-C4206779197F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E36E2FB8-DA38-4FE0-8765-211B76ECEFA6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4F497A31-60DA-449B-9477-F9EFB4F4C7C5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B1EDE6F6-F4BD-40E6-ADCB-BCF1358D3F17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5FE8841-2C54-47C8-B29A-6E562E40547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40F52F3-8235-418B-8A74-6FE060B1D171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4CED132E-8CB2-465D-BA02-5D07BC58FF6C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141DBDBF-5CF1-464A-8209-EEC64DE672DA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8C2A0870-87CA-4483-B1C8-3E52F3294870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E199BE98-9C1A-4188-9C5A-B4EE7733452F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F4D550D7-72C3-4DF6-9EE5-EFD724B89527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42FEA2-0098-4367-BA36-5DFF52FE0EA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A56E5925-2BB3-4C0F-B709-714DA8FF1B55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DDE3DD4A-5257-4C0B-9CC5-00D2F632BDF6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05663B1F-B5C3-4E8C-8420-3D1B2EE18F90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D2BCC30-7703-4A29-8729-0D826001A675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689E7287-E05F-4EBF-840B-40D19EE0571F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AAB3F59B-6834-4139-9D02-58D5CCDFE130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4" name="Gutter space">
              <a:extLst>
                <a:ext uri="{FF2B5EF4-FFF2-40B4-BE49-F238E27FC236}">
                  <a16:creationId xmlns:a16="http://schemas.microsoft.com/office/drawing/2014/main" id="{8FD8D4DB-AB91-454E-B1BA-BB0E90D6E750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26" name="Rectangle 34">
                <a:extLst>
                  <a:ext uri="{FF2B5EF4-FFF2-40B4-BE49-F238E27FC236}">
                    <a16:creationId xmlns:a16="http://schemas.microsoft.com/office/drawing/2014/main" id="{CC2A1031-8BB8-42DB-A99C-D58B835307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7" name="Rectangle 35">
                <a:extLst>
                  <a:ext uri="{FF2B5EF4-FFF2-40B4-BE49-F238E27FC236}">
                    <a16:creationId xmlns:a16="http://schemas.microsoft.com/office/drawing/2014/main" id="{91BF26E8-7A30-48EF-8F02-663BFEE98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8" name="Rectangle 36">
                <a:extLst>
                  <a:ext uri="{FF2B5EF4-FFF2-40B4-BE49-F238E27FC236}">
                    <a16:creationId xmlns:a16="http://schemas.microsoft.com/office/drawing/2014/main" id="{C2A80C6B-A60A-478C-95C0-01EF0BAF7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9" name="Rectangle 37">
                <a:extLst>
                  <a:ext uri="{FF2B5EF4-FFF2-40B4-BE49-F238E27FC236}">
                    <a16:creationId xmlns:a16="http://schemas.microsoft.com/office/drawing/2014/main" id="{F69D71B4-E7BF-4198-8F31-BC36AF934C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0" name="Rectangle 38">
                <a:extLst>
                  <a:ext uri="{FF2B5EF4-FFF2-40B4-BE49-F238E27FC236}">
                    <a16:creationId xmlns:a16="http://schemas.microsoft.com/office/drawing/2014/main" id="{61C51D5A-AABF-4FE9-A7B4-B957834B16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1" name="Rectangle 39">
                <a:extLst>
                  <a:ext uri="{FF2B5EF4-FFF2-40B4-BE49-F238E27FC236}">
                    <a16:creationId xmlns:a16="http://schemas.microsoft.com/office/drawing/2014/main" id="{980D98DE-5C59-4489-888E-0E53D8EBBD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2" name="Rectangle 40">
                <a:extLst>
                  <a:ext uri="{FF2B5EF4-FFF2-40B4-BE49-F238E27FC236}">
                    <a16:creationId xmlns:a16="http://schemas.microsoft.com/office/drawing/2014/main" id="{0FEBCA4B-01F4-4022-A743-78551281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3" name="Rectangle 41">
                <a:extLst>
                  <a:ext uri="{FF2B5EF4-FFF2-40B4-BE49-F238E27FC236}">
                    <a16:creationId xmlns:a16="http://schemas.microsoft.com/office/drawing/2014/main" id="{C6C94FE9-ACF6-466B-8BFC-90AF10F8D8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8" name="Rectangle 42">
                <a:extLst>
                  <a:ext uri="{FF2B5EF4-FFF2-40B4-BE49-F238E27FC236}">
                    <a16:creationId xmlns:a16="http://schemas.microsoft.com/office/drawing/2014/main" id="{8FD84607-9D05-4CFF-85C0-30A674044D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9" name="Rectangle 43">
                <a:extLst>
                  <a:ext uri="{FF2B5EF4-FFF2-40B4-BE49-F238E27FC236}">
                    <a16:creationId xmlns:a16="http://schemas.microsoft.com/office/drawing/2014/main" id="{314CFB9D-AA18-4CF0-B56F-39FCAEBC5F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40" name="Rectangle 44">
                <a:extLst>
                  <a:ext uri="{FF2B5EF4-FFF2-40B4-BE49-F238E27FC236}">
                    <a16:creationId xmlns:a16="http://schemas.microsoft.com/office/drawing/2014/main" id="{19F2F422-5791-46D9-B4EF-7A6B3FEEB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5" name="Slide edges">
              <a:extLst>
                <a:ext uri="{FF2B5EF4-FFF2-40B4-BE49-F238E27FC236}">
                  <a16:creationId xmlns:a16="http://schemas.microsoft.com/office/drawing/2014/main" id="{91A96CCE-1E1D-495D-B295-5DB0B79E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6" name="Footnote measure">
              <a:extLst>
                <a:ext uri="{FF2B5EF4-FFF2-40B4-BE49-F238E27FC236}">
                  <a16:creationId xmlns:a16="http://schemas.microsoft.com/office/drawing/2014/main" id="{082346B9-B2AB-4A25-BFF2-93A06510D7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117" name="Whitespace measure">
              <a:extLst>
                <a:ext uri="{FF2B5EF4-FFF2-40B4-BE49-F238E27FC236}">
                  <a16:creationId xmlns:a16="http://schemas.microsoft.com/office/drawing/2014/main" id="{8A89F410-D3E7-48FC-BC17-C16B289BD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118" name="Five column measure">
              <a:extLst>
                <a:ext uri="{FF2B5EF4-FFF2-40B4-BE49-F238E27FC236}">
                  <a16:creationId xmlns:a16="http://schemas.microsoft.com/office/drawing/2014/main" id="{AF0A0B4D-52AE-451B-BF63-A30764B88FC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21" name="Rectangle 5">
                <a:extLst>
                  <a:ext uri="{FF2B5EF4-FFF2-40B4-BE49-F238E27FC236}">
                    <a16:creationId xmlns:a16="http://schemas.microsoft.com/office/drawing/2014/main" id="{E4633997-92FB-4F33-ACEC-BACB0E100A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2" name="Rectangle 7">
                <a:extLst>
                  <a:ext uri="{FF2B5EF4-FFF2-40B4-BE49-F238E27FC236}">
                    <a16:creationId xmlns:a16="http://schemas.microsoft.com/office/drawing/2014/main" id="{1605E953-67F6-4A2E-9BA4-F92A05B0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3" name="Rectangle 9">
                <a:extLst>
                  <a:ext uri="{FF2B5EF4-FFF2-40B4-BE49-F238E27FC236}">
                    <a16:creationId xmlns:a16="http://schemas.microsoft.com/office/drawing/2014/main" id="{F634DDE8-781F-457F-97FB-43C53E5E84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4" name="Rectangle 11">
                <a:extLst>
                  <a:ext uri="{FF2B5EF4-FFF2-40B4-BE49-F238E27FC236}">
                    <a16:creationId xmlns:a16="http://schemas.microsoft.com/office/drawing/2014/main" id="{46C9C76A-4338-4B38-B390-FB55CDB05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5" name="Rectangle 13">
                <a:extLst>
                  <a:ext uri="{FF2B5EF4-FFF2-40B4-BE49-F238E27FC236}">
                    <a16:creationId xmlns:a16="http://schemas.microsoft.com/office/drawing/2014/main" id="{B256419B-BD9C-41DA-89E6-40B93C0B1A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9" name="Live area">
              <a:extLst>
                <a:ext uri="{FF2B5EF4-FFF2-40B4-BE49-F238E27FC236}">
                  <a16:creationId xmlns:a16="http://schemas.microsoft.com/office/drawing/2014/main" id="{4E8E0BA1-EDEF-43F8-B210-C8091C804194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120" name="ee4pFootnotes">
              <a:extLst>
                <a:ext uri="{FF2B5EF4-FFF2-40B4-BE49-F238E27FC236}">
                  <a16:creationId xmlns:a16="http://schemas.microsoft.com/office/drawing/2014/main" id="{97DE969B-57F2-4041-BB48-E2DE763F4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4075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751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982FCF9-715C-428B-BF36-7A5FDD25DD11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AA51026-CFD8-4A3F-8CE3-E57CC80008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10EB070-E5FD-4DDE-AC6D-8D220B43C2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A19FD62A-4798-4917-A473-5F81A636E03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3" y="5570643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1CAD31A-51CF-4015-A4CF-439ED367950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B13BA057-D0D7-4048-A5E9-90EDED33BE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AA7AA96B-70E0-48A7-BF25-15A32D03D7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56417A15-B32C-4CA2-AAE3-DBFD5511B0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183986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350" cy="316640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4858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53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8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10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1468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2777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2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defRPr>
            </a:lvl1pPr>
            <a:lvl2pPr marL="435529" indent="0" algn="ctr">
              <a:buNone/>
              <a:defRPr sz="1905"/>
            </a:lvl2pPr>
            <a:lvl3pPr marL="871057" indent="0" algn="ctr">
              <a:buNone/>
              <a:defRPr sz="1715"/>
            </a:lvl3pPr>
            <a:lvl4pPr marL="1306586" indent="0" algn="ctr">
              <a:buNone/>
              <a:defRPr sz="1524"/>
            </a:lvl4pPr>
            <a:lvl5pPr marL="1742115" indent="0" algn="ctr">
              <a:buNone/>
              <a:defRPr sz="1524"/>
            </a:lvl5pPr>
            <a:lvl6pPr marL="2177644" indent="0" algn="ctr">
              <a:buNone/>
              <a:defRPr sz="1524"/>
            </a:lvl6pPr>
            <a:lvl7pPr marL="2613172" indent="0" algn="ctr">
              <a:buNone/>
              <a:defRPr sz="1524"/>
            </a:lvl7pPr>
            <a:lvl8pPr marL="3048701" indent="0" algn="ctr">
              <a:buNone/>
              <a:defRPr sz="1524"/>
            </a:lvl8pPr>
            <a:lvl9pPr marL="3484230" indent="0" algn="ctr">
              <a:buNone/>
              <a:defRPr sz="1524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9"/>
            <a:ext cx="3744000" cy="664797"/>
          </a:xfrm>
        </p:spPr>
        <p:txBody>
          <a:bodyPr anchor="t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91332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6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4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264796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2"/>
            <a:ext cx="951721" cy="951721"/>
          </a:xfrm>
          <a:prstGeom prst="rect">
            <a:avLst/>
          </a:prstGeom>
          <a:noFill/>
          <a:ln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4930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1244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55933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1"/>
            <a:ext cx="6276529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43628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8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8101584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43729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5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3871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19652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7318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8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7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2545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285743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0500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98394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7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1304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65286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9630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55567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7381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94809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48089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06865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087519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133353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2157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200" cy="31664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50811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0476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459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70292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10491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391894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A391E1D-6927-4B36-986D-E693D888F8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F46813C-089B-42DD-93EF-4FAD03D8F41D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3787030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186EDF6-F493-451E-A790-F103405D687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E043909A-6757-45F3-BA9E-CD764990903A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F872CE8F-3F0B-4F10-9C46-F1971232C540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424B456A-ACDB-452F-A82C-A447A8022FC5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10EC6263-C735-435C-B5FB-A1A090D82696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BCFC957E-A1AA-4488-B4F7-E42719D90083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860ED8C1-914B-4FE2-B202-3EADDA88671B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D2D67AD1-78E4-4ACD-A2B4-E755EE0BC3EE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A2614495-B0AA-4BFB-AAFC-C277AB1903E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B31AC91-26B0-46CE-A559-6170B43B5436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4F3AC0CE-CAD1-4292-BAD3-251D546DBC98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EA7F5A4-1850-4AC2-9D22-F35FD755199B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EF02D1C-4F7D-42B1-949D-F6F32794F0CD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D7010C52-AD41-4AC8-BDDD-DDA0DAC1313A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A87E638F-7416-47FB-BC05-73E41DA33B52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05BD109-9013-4BAA-A2E0-E0D14BD8A6D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CB3C821B-BE4C-4939-90A7-7C674C6CC188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286A8CF5-F350-482E-A284-B52BD7223372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B06DE91-73BB-4FE0-B581-AC7421221637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5FDFD0DD-D795-4666-A1B7-830D6E1999DF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122FBAC-3E0E-4642-9209-057F14DBD9CA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328CBA-E718-4667-9ACD-A752E3933D74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3" name="Gutter space">
              <a:extLst>
                <a:ext uri="{FF2B5EF4-FFF2-40B4-BE49-F238E27FC236}">
                  <a16:creationId xmlns:a16="http://schemas.microsoft.com/office/drawing/2014/main" id="{376D823D-D34D-49F5-BE43-29837D19CF43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85" name="Rectangle 34">
                <a:extLst>
                  <a:ext uri="{FF2B5EF4-FFF2-40B4-BE49-F238E27FC236}">
                    <a16:creationId xmlns:a16="http://schemas.microsoft.com/office/drawing/2014/main" id="{F6FEF8DA-E406-4A77-BB5C-66785DE7D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6" name="Rectangle 35">
                <a:extLst>
                  <a:ext uri="{FF2B5EF4-FFF2-40B4-BE49-F238E27FC236}">
                    <a16:creationId xmlns:a16="http://schemas.microsoft.com/office/drawing/2014/main" id="{98BCAF4F-96B6-4583-ABA1-EA7180BC76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7" name="Rectangle 36">
                <a:extLst>
                  <a:ext uri="{FF2B5EF4-FFF2-40B4-BE49-F238E27FC236}">
                    <a16:creationId xmlns:a16="http://schemas.microsoft.com/office/drawing/2014/main" id="{63B3871A-9CEC-48D0-A7CD-4EB61563E0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8" name="Rectangle 37">
                <a:extLst>
                  <a:ext uri="{FF2B5EF4-FFF2-40B4-BE49-F238E27FC236}">
                    <a16:creationId xmlns:a16="http://schemas.microsoft.com/office/drawing/2014/main" id="{56091341-1622-4A44-AEBC-2C1A6C5E96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9" name="Rectangle 38">
                <a:extLst>
                  <a:ext uri="{FF2B5EF4-FFF2-40B4-BE49-F238E27FC236}">
                    <a16:creationId xmlns:a16="http://schemas.microsoft.com/office/drawing/2014/main" id="{FDCA88BD-8A0B-4803-8BCD-DBCFE50665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0" name="Rectangle 39">
                <a:extLst>
                  <a:ext uri="{FF2B5EF4-FFF2-40B4-BE49-F238E27FC236}">
                    <a16:creationId xmlns:a16="http://schemas.microsoft.com/office/drawing/2014/main" id="{1752D24A-95D1-4BF5-942F-7403FFC979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1" name="Rectangle 40">
                <a:extLst>
                  <a:ext uri="{FF2B5EF4-FFF2-40B4-BE49-F238E27FC236}">
                    <a16:creationId xmlns:a16="http://schemas.microsoft.com/office/drawing/2014/main" id="{DDAD0B10-607F-4F76-B8E2-856CEFF459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2" name="Rectangle 41">
                <a:extLst>
                  <a:ext uri="{FF2B5EF4-FFF2-40B4-BE49-F238E27FC236}">
                    <a16:creationId xmlns:a16="http://schemas.microsoft.com/office/drawing/2014/main" id="{D86AE034-410A-4325-8973-EAF7C3B581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3" name="Rectangle 42">
                <a:extLst>
                  <a:ext uri="{FF2B5EF4-FFF2-40B4-BE49-F238E27FC236}">
                    <a16:creationId xmlns:a16="http://schemas.microsoft.com/office/drawing/2014/main" id="{420697CC-D29F-47F9-B11D-10251B5B9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4" name="Rectangle 43">
                <a:extLst>
                  <a:ext uri="{FF2B5EF4-FFF2-40B4-BE49-F238E27FC236}">
                    <a16:creationId xmlns:a16="http://schemas.microsoft.com/office/drawing/2014/main" id="{73620A14-7B53-4E94-B3B4-C239CA820B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5" name="Rectangle 44">
                <a:extLst>
                  <a:ext uri="{FF2B5EF4-FFF2-40B4-BE49-F238E27FC236}">
                    <a16:creationId xmlns:a16="http://schemas.microsoft.com/office/drawing/2014/main" id="{036C0721-D3AE-432E-B178-520AFE536C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4" name="Slide edges">
              <a:extLst>
                <a:ext uri="{FF2B5EF4-FFF2-40B4-BE49-F238E27FC236}">
                  <a16:creationId xmlns:a16="http://schemas.microsoft.com/office/drawing/2014/main" id="{00D602B6-43AC-4014-A447-2EE61049D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5" name="Footnote measure">
              <a:extLst>
                <a:ext uri="{FF2B5EF4-FFF2-40B4-BE49-F238E27FC236}">
                  <a16:creationId xmlns:a16="http://schemas.microsoft.com/office/drawing/2014/main" id="{2B634860-1500-42B7-B1D9-3DEC0117C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76" name="Whitespace measure">
              <a:extLst>
                <a:ext uri="{FF2B5EF4-FFF2-40B4-BE49-F238E27FC236}">
                  <a16:creationId xmlns:a16="http://schemas.microsoft.com/office/drawing/2014/main" id="{93F63E8E-37C1-4FB4-9789-977EBD9DF9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77" name="Five column measure">
              <a:extLst>
                <a:ext uri="{FF2B5EF4-FFF2-40B4-BE49-F238E27FC236}">
                  <a16:creationId xmlns:a16="http://schemas.microsoft.com/office/drawing/2014/main" id="{1AAD3B61-EA13-412D-A034-51AC471AC5AC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80" name="Rectangle 5">
                <a:extLst>
                  <a:ext uri="{FF2B5EF4-FFF2-40B4-BE49-F238E27FC236}">
                    <a16:creationId xmlns:a16="http://schemas.microsoft.com/office/drawing/2014/main" id="{5506CC4E-A9C4-438F-9A3F-96182A75E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1" name="Rectangle 7">
                <a:extLst>
                  <a:ext uri="{FF2B5EF4-FFF2-40B4-BE49-F238E27FC236}">
                    <a16:creationId xmlns:a16="http://schemas.microsoft.com/office/drawing/2014/main" id="{1F032728-5EDC-495D-8244-DE0BE42A5B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2" name="Rectangle 9">
                <a:extLst>
                  <a:ext uri="{FF2B5EF4-FFF2-40B4-BE49-F238E27FC236}">
                    <a16:creationId xmlns:a16="http://schemas.microsoft.com/office/drawing/2014/main" id="{2D75812C-FA03-4CBC-8BB2-F5CF950F07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3" name="Rectangle 11">
                <a:extLst>
                  <a:ext uri="{FF2B5EF4-FFF2-40B4-BE49-F238E27FC236}">
                    <a16:creationId xmlns:a16="http://schemas.microsoft.com/office/drawing/2014/main" id="{9FCE93D4-CE77-4D88-9735-6FCAC5F241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4" name="Rectangle 13">
                <a:extLst>
                  <a:ext uri="{FF2B5EF4-FFF2-40B4-BE49-F238E27FC236}">
                    <a16:creationId xmlns:a16="http://schemas.microsoft.com/office/drawing/2014/main" id="{EB18EFE9-FEC5-48E0-BA3E-10C3C75A80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8" name="Live area">
              <a:extLst>
                <a:ext uri="{FF2B5EF4-FFF2-40B4-BE49-F238E27FC236}">
                  <a16:creationId xmlns:a16="http://schemas.microsoft.com/office/drawing/2014/main" id="{E1464F76-1617-4CCA-8871-DB77ECCB8E8D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79" name="ee4pFootnotes">
              <a:extLst>
                <a:ext uri="{FF2B5EF4-FFF2-40B4-BE49-F238E27FC236}">
                  <a16:creationId xmlns:a16="http://schemas.microsoft.com/office/drawing/2014/main" id="{8483420E-9242-4947-B5F3-1922B03C5B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469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7" y="4691188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8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200"/>
            <a:ext cx="3448800" cy="116260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144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30695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74371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1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888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9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06473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1906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5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2" y="3207716"/>
            <a:ext cx="1547143" cy="4221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3048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12608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7" y="4691188"/>
            <a:ext cx="929337" cy="995874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8"/>
            <a:ext cx="1570152" cy="1468176"/>
          </a:xfrm>
          <a:prstGeom prst="rect">
            <a:avLst/>
          </a:prstGeom>
          <a:noFill/>
          <a:ln w="9525" cmpd="sng">
            <a:solidFill>
              <a:srgbClr val="4472C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162606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144">
                <a:solidFill>
                  <a:srgbClr val="4472C4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49628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59970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1"/>
            <a:ext cx="9619200" cy="3200400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4574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rgbClr val="4472C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1220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5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2" y="3262146"/>
            <a:ext cx="1161047" cy="3165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2286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5247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4472C4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3699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7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715"/>
          </a:p>
        </p:txBody>
      </p:sp>
      <p:sp>
        <p:nvSpPr>
          <p:cNvPr id="8" name="Rectangle 7"/>
          <p:cNvSpPr/>
          <p:nvPr/>
        </p:nvSpPr>
        <p:spPr>
          <a:xfrm>
            <a:off x="17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715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3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7621" spc="-48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286" cap="all" spc="191" baseline="0">
                <a:solidFill>
                  <a:schemeClr val="tx2"/>
                </a:solidFill>
                <a:latin typeface="+mj-lt"/>
              </a:defRPr>
            </a:lvl1pPr>
            <a:lvl2pPr marL="435529" indent="0" algn="ctr">
              <a:buNone/>
              <a:defRPr sz="2286"/>
            </a:lvl2pPr>
            <a:lvl3pPr marL="871057" indent="0" algn="ctr">
              <a:buNone/>
              <a:defRPr sz="2286"/>
            </a:lvl3pPr>
            <a:lvl4pPr marL="1306586" indent="0" algn="ctr">
              <a:buNone/>
              <a:defRPr sz="1905"/>
            </a:lvl4pPr>
            <a:lvl5pPr marL="1742115" indent="0" algn="ctr">
              <a:buNone/>
              <a:defRPr sz="1905"/>
            </a:lvl5pPr>
            <a:lvl6pPr marL="2177644" indent="0" algn="ctr">
              <a:buNone/>
              <a:defRPr sz="1905"/>
            </a:lvl6pPr>
            <a:lvl7pPr marL="2613172" indent="0" algn="ctr">
              <a:buNone/>
              <a:defRPr sz="1905"/>
            </a:lvl7pPr>
            <a:lvl8pPr marL="3048701" indent="0" algn="ctr">
              <a:buNone/>
              <a:defRPr sz="1905"/>
            </a:lvl8pPr>
            <a:lvl9pPr marL="3484230" indent="0" algn="ctr">
              <a:buNone/>
              <a:defRPr sz="1905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3" y="6562828"/>
            <a:ext cx="1482051" cy="322524"/>
          </a:xfrm>
        </p:spPr>
        <p:txBody>
          <a:bodyPr/>
          <a:lstStyle>
            <a:lvl1pPr>
              <a:defRPr sz="1048"/>
            </a:lvl1pPr>
          </a:lstStyle>
          <a:p>
            <a:r>
              <a:rPr lang="en-US"/>
              <a:t>Investors' Meet | Houston | Sept. 2022</a:t>
            </a:r>
            <a:endParaRPr lang="en-US" sz="1048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48"/>
            </a:lvl1pPr>
          </a:lstStyle>
          <a:p>
            <a:endParaRPr lang="en-US" sz="1048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334"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746722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5500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82C103E6-56C0-4803-91FF-919D27F75820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DC84CFD-DDA8-40AC-B7BC-774D356E8F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5C5F7BC-6CB5-4CB3-84A5-E064690BD1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C3825231-F16B-47F4-BB89-AF2B79C488B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3" y="5570643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28D422-7258-4118-BAB2-F0AF6381E74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C9A652C-DEE4-4F9F-8889-3FABCF7248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27867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96705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5" y="101447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4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825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48573"/>
          </a:xfrm>
        </p:spPr>
        <p:txBody>
          <a:bodyPr/>
          <a:lstStyle>
            <a:lvl1pPr>
              <a:defRPr sz="3239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1" y="2085629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18167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33490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4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383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178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5824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18743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5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1313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9911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19567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470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 baseline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1817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</p:spPr>
        <p:txBody>
          <a:bodyPr/>
          <a:lstStyle>
            <a:lvl1pPr>
              <a:defRPr sz="323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27896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048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9862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56275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7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5473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61998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1263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9112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238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11999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544001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26924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256303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783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25479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</p:spPr>
        <p:txBody>
          <a:bodyPr/>
          <a:lstStyle>
            <a:lvl1pPr>
              <a:defRPr sz="323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71696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06990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3792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51345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409863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B9A61024-EF5F-4D4F-8BEF-C9DBCF564F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0929A6-AA90-4BE3-A794-0C9DA8110263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2674613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79B06C1F-BB85-4DD7-B99A-DE6BE2F699C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3" name="No fly zone">
              <a:extLst>
                <a:ext uri="{FF2B5EF4-FFF2-40B4-BE49-F238E27FC236}">
                  <a16:creationId xmlns:a16="http://schemas.microsoft.com/office/drawing/2014/main" id="{5BE0206C-E9B7-44A8-B943-39660205FFA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6337A840-7DC0-44AB-B1D6-EEA32C8B4FFF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02CE8B9F-CF74-486E-8634-47F3455D7F2D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FB3B3C51-92CF-4CD7-9E57-C4206779197F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E36E2FB8-DA38-4FE0-8765-211B76ECEFA6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4F497A31-60DA-449B-9477-F9EFB4F4C7C5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B1EDE6F6-F4BD-40E6-ADCB-BCF1358D3F17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5FE8841-2C54-47C8-B29A-6E562E40547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40F52F3-8235-418B-8A74-6FE060B1D171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4CED132E-8CB2-465D-BA02-5D07BC58FF6C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141DBDBF-5CF1-464A-8209-EEC64DE672DA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8C2A0870-87CA-4483-B1C8-3E52F3294870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E199BE98-9C1A-4188-9C5A-B4EE7733452F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F4D550D7-72C3-4DF6-9EE5-EFD724B89527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42FEA2-0098-4367-BA36-5DFF52FE0EA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A56E5925-2BB3-4C0F-B709-714DA8FF1B55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DDE3DD4A-5257-4C0B-9CC5-00D2F632BDF6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05663B1F-B5C3-4E8C-8420-3D1B2EE18F90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D2BCC30-7703-4A29-8729-0D826001A675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689E7287-E05F-4EBF-840B-40D19EE0571F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AAB3F59B-6834-4139-9D02-58D5CCDFE130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4" name="Gutter space">
              <a:extLst>
                <a:ext uri="{FF2B5EF4-FFF2-40B4-BE49-F238E27FC236}">
                  <a16:creationId xmlns:a16="http://schemas.microsoft.com/office/drawing/2014/main" id="{8FD8D4DB-AB91-454E-B1BA-BB0E90D6E750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26" name="Rectangle 34">
                <a:extLst>
                  <a:ext uri="{FF2B5EF4-FFF2-40B4-BE49-F238E27FC236}">
                    <a16:creationId xmlns:a16="http://schemas.microsoft.com/office/drawing/2014/main" id="{CC2A1031-8BB8-42DB-A99C-D58B835307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7" name="Rectangle 35">
                <a:extLst>
                  <a:ext uri="{FF2B5EF4-FFF2-40B4-BE49-F238E27FC236}">
                    <a16:creationId xmlns:a16="http://schemas.microsoft.com/office/drawing/2014/main" id="{91BF26E8-7A30-48EF-8F02-663BFEE98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8" name="Rectangle 36">
                <a:extLst>
                  <a:ext uri="{FF2B5EF4-FFF2-40B4-BE49-F238E27FC236}">
                    <a16:creationId xmlns:a16="http://schemas.microsoft.com/office/drawing/2014/main" id="{C2A80C6B-A60A-478C-95C0-01EF0BAF7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9" name="Rectangle 37">
                <a:extLst>
                  <a:ext uri="{FF2B5EF4-FFF2-40B4-BE49-F238E27FC236}">
                    <a16:creationId xmlns:a16="http://schemas.microsoft.com/office/drawing/2014/main" id="{F69D71B4-E7BF-4198-8F31-BC36AF934C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0" name="Rectangle 38">
                <a:extLst>
                  <a:ext uri="{FF2B5EF4-FFF2-40B4-BE49-F238E27FC236}">
                    <a16:creationId xmlns:a16="http://schemas.microsoft.com/office/drawing/2014/main" id="{61C51D5A-AABF-4FE9-A7B4-B957834B16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1" name="Rectangle 39">
                <a:extLst>
                  <a:ext uri="{FF2B5EF4-FFF2-40B4-BE49-F238E27FC236}">
                    <a16:creationId xmlns:a16="http://schemas.microsoft.com/office/drawing/2014/main" id="{980D98DE-5C59-4489-888E-0E53D8EBBD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2" name="Rectangle 40">
                <a:extLst>
                  <a:ext uri="{FF2B5EF4-FFF2-40B4-BE49-F238E27FC236}">
                    <a16:creationId xmlns:a16="http://schemas.microsoft.com/office/drawing/2014/main" id="{0FEBCA4B-01F4-4022-A743-78551281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3" name="Rectangle 41">
                <a:extLst>
                  <a:ext uri="{FF2B5EF4-FFF2-40B4-BE49-F238E27FC236}">
                    <a16:creationId xmlns:a16="http://schemas.microsoft.com/office/drawing/2014/main" id="{C6C94FE9-ACF6-466B-8BFC-90AF10F8D8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8" name="Rectangle 42">
                <a:extLst>
                  <a:ext uri="{FF2B5EF4-FFF2-40B4-BE49-F238E27FC236}">
                    <a16:creationId xmlns:a16="http://schemas.microsoft.com/office/drawing/2014/main" id="{8FD84607-9D05-4CFF-85C0-30A674044D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9" name="Rectangle 43">
                <a:extLst>
                  <a:ext uri="{FF2B5EF4-FFF2-40B4-BE49-F238E27FC236}">
                    <a16:creationId xmlns:a16="http://schemas.microsoft.com/office/drawing/2014/main" id="{314CFB9D-AA18-4CF0-B56F-39FCAEBC5F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40" name="Rectangle 44">
                <a:extLst>
                  <a:ext uri="{FF2B5EF4-FFF2-40B4-BE49-F238E27FC236}">
                    <a16:creationId xmlns:a16="http://schemas.microsoft.com/office/drawing/2014/main" id="{19F2F422-5791-46D9-B4EF-7A6B3FEEB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5" name="Slide edges">
              <a:extLst>
                <a:ext uri="{FF2B5EF4-FFF2-40B4-BE49-F238E27FC236}">
                  <a16:creationId xmlns:a16="http://schemas.microsoft.com/office/drawing/2014/main" id="{91A96CCE-1E1D-495D-B295-5DB0B79E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6" name="Footnote measure">
              <a:extLst>
                <a:ext uri="{FF2B5EF4-FFF2-40B4-BE49-F238E27FC236}">
                  <a16:creationId xmlns:a16="http://schemas.microsoft.com/office/drawing/2014/main" id="{082346B9-B2AB-4A25-BFF2-93A06510D7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117" name="Whitespace measure">
              <a:extLst>
                <a:ext uri="{FF2B5EF4-FFF2-40B4-BE49-F238E27FC236}">
                  <a16:creationId xmlns:a16="http://schemas.microsoft.com/office/drawing/2014/main" id="{8A89F410-D3E7-48FC-BC17-C16B289BD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118" name="Five column measure">
              <a:extLst>
                <a:ext uri="{FF2B5EF4-FFF2-40B4-BE49-F238E27FC236}">
                  <a16:creationId xmlns:a16="http://schemas.microsoft.com/office/drawing/2014/main" id="{AF0A0B4D-52AE-451B-BF63-A30764B88FC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21" name="Rectangle 5">
                <a:extLst>
                  <a:ext uri="{FF2B5EF4-FFF2-40B4-BE49-F238E27FC236}">
                    <a16:creationId xmlns:a16="http://schemas.microsoft.com/office/drawing/2014/main" id="{E4633997-92FB-4F33-ACEC-BACB0E100A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2" name="Rectangle 7">
                <a:extLst>
                  <a:ext uri="{FF2B5EF4-FFF2-40B4-BE49-F238E27FC236}">
                    <a16:creationId xmlns:a16="http://schemas.microsoft.com/office/drawing/2014/main" id="{1605E953-67F6-4A2E-9BA4-F92A05B0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3" name="Rectangle 9">
                <a:extLst>
                  <a:ext uri="{FF2B5EF4-FFF2-40B4-BE49-F238E27FC236}">
                    <a16:creationId xmlns:a16="http://schemas.microsoft.com/office/drawing/2014/main" id="{F634DDE8-781F-457F-97FB-43C53E5E84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4" name="Rectangle 11">
                <a:extLst>
                  <a:ext uri="{FF2B5EF4-FFF2-40B4-BE49-F238E27FC236}">
                    <a16:creationId xmlns:a16="http://schemas.microsoft.com/office/drawing/2014/main" id="{46C9C76A-4338-4B38-B390-FB55CDB05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5" name="Rectangle 13">
                <a:extLst>
                  <a:ext uri="{FF2B5EF4-FFF2-40B4-BE49-F238E27FC236}">
                    <a16:creationId xmlns:a16="http://schemas.microsoft.com/office/drawing/2014/main" id="{B256419B-BD9C-41DA-89E6-40B93C0B1A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9" name="Live area">
              <a:extLst>
                <a:ext uri="{FF2B5EF4-FFF2-40B4-BE49-F238E27FC236}">
                  <a16:creationId xmlns:a16="http://schemas.microsoft.com/office/drawing/2014/main" id="{4E8E0BA1-EDEF-43F8-B210-C8091C804194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120" name="ee4pFootnotes">
              <a:extLst>
                <a:ext uri="{FF2B5EF4-FFF2-40B4-BE49-F238E27FC236}">
                  <a16:creationId xmlns:a16="http://schemas.microsoft.com/office/drawing/2014/main" id="{97DE969B-57F2-4041-BB48-E2DE763F4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09836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4378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982FCF9-715C-428B-BF36-7A5FDD25DD11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AA51026-CFD8-4A3F-8CE3-E57CC80008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10EB070-E5FD-4DDE-AC6D-8D220B43C2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A19FD62A-4798-4917-A473-5F81A636E03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3" y="5570643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1CAD31A-51CF-4015-A4CF-439ED367950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B13BA057-D0D7-4048-A5E9-90EDED33BE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AA7AA96B-70E0-48A7-BF25-15A32D03D7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56417A15-B32C-4CA2-AAE3-DBFD5511B0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3971000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350" cy="316640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36184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535">
          <p15:clr>
            <a:srgbClr val="FBAE40"/>
          </p15:clr>
        </p15:guide>
      </p15:sldGuideLst>
    </p:ext>
  </p:extLs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91293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2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defRPr>
            </a:lvl1pPr>
            <a:lvl2pPr marL="435529" indent="0" algn="ctr">
              <a:buNone/>
              <a:defRPr sz="1905"/>
            </a:lvl2pPr>
            <a:lvl3pPr marL="871057" indent="0" algn="ctr">
              <a:buNone/>
              <a:defRPr sz="1715"/>
            </a:lvl3pPr>
            <a:lvl4pPr marL="1306586" indent="0" algn="ctr">
              <a:buNone/>
              <a:defRPr sz="1524"/>
            </a:lvl4pPr>
            <a:lvl5pPr marL="1742115" indent="0" algn="ctr">
              <a:buNone/>
              <a:defRPr sz="1524"/>
            </a:lvl5pPr>
            <a:lvl6pPr marL="2177644" indent="0" algn="ctr">
              <a:buNone/>
              <a:defRPr sz="1524"/>
            </a:lvl6pPr>
            <a:lvl7pPr marL="2613172" indent="0" algn="ctr">
              <a:buNone/>
              <a:defRPr sz="1524"/>
            </a:lvl7pPr>
            <a:lvl8pPr marL="3048701" indent="0" algn="ctr">
              <a:buNone/>
              <a:defRPr sz="1524"/>
            </a:lvl8pPr>
            <a:lvl9pPr marL="3484230" indent="0" algn="ctr">
              <a:buNone/>
              <a:defRPr sz="1524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9"/>
            <a:ext cx="3744000" cy="664797"/>
          </a:xfrm>
        </p:spPr>
        <p:txBody>
          <a:bodyPr anchor="t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13599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6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631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4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264796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2"/>
            <a:ext cx="951721" cy="951721"/>
          </a:xfrm>
          <a:prstGeom prst="rect">
            <a:avLst/>
          </a:prstGeom>
          <a:noFill/>
          <a:ln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87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3361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92150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1"/>
            <a:ext cx="6276529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9191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8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8101584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81824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5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7443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39047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6878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79329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1452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82533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0BEFF9-C6D0-4A53-85BE-AF7CA19876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E38BDE-5CE4-4941-A3FD-24EFBF04F5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D2DC2B-68A9-4CD6-BA13-93E8B51C0E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A147D2-B682-4974-A7E4-D948DD0E50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Investors' Meet | Houston | Sept. 2022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7CB837-F742-4B22-A6B4-3A2D3E6AE2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2F5488-E610-43C7-BF74-561D8FE45C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C68A2-2EC2-4D38-8FDE-9772B4695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6572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20030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7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3237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2522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358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84668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665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13774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374165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8775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862414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1009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200" cy="31664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18283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5924757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B9A61024-EF5F-4D4F-8BEF-C9DBCF564F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0929A6-AA90-4BE3-A794-0C9DA8110263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757731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876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2797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9534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68922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302425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A391E1D-6927-4B36-986D-E693D888F8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F46813C-089B-42DD-93EF-4FAD03D8F41D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2013361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186EDF6-F493-451E-A790-F103405D687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E043909A-6757-45F3-BA9E-CD764990903A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F872CE8F-3F0B-4F10-9C46-F1971232C540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424B456A-ACDB-452F-A82C-A447A8022FC5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10EC6263-C735-435C-B5FB-A1A090D82696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BCFC957E-A1AA-4488-B4F7-E42719D90083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860ED8C1-914B-4FE2-B202-3EADDA88671B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D2D67AD1-78E4-4ACD-A2B4-E755EE0BC3EE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A2614495-B0AA-4BFB-AAFC-C277AB1903E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B31AC91-26B0-46CE-A559-6170B43B5436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4F3AC0CE-CAD1-4292-BAD3-251D546DBC98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EA7F5A4-1850-4AC2-9D22-F35FD755199B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EF02D1C-4F7D-42B1-949D-F6F32794F0CD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D7010C52-AD41-4AC8-BDDD-DDA0DAC1313A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A87E638F-7416-47FB-BC05-73E41DA33B52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05BD109-9013-4BAA-A2E0-E0D14BD8A6D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CB3C821B-BE4C-4939-90A7-7C674C6CC188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286A8CF5-F350-482E-A284-B52BD7223372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B06DE91-73BB-4FE0-B581-AC7421221637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5FDFD0DD-D795-4666-A1B7-830D6E1999DF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122FBAC-3E0E-4642-9209-057F14DBD9CA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328CBA-E718-4667-9ACD-A752E3933D74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3" name="Gutter space">
              <a:extLst>
                <a:ext uri="{FF2B5EF4-FFF2-40B4-BE49-F238E27FC236}">
                  <a16:creationId xmlns:a16="http://schemas.microsoft.com/office/drawing/2014/main" id="{376D823D-D34D-49F5-BE43-29837D19CF43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85" name="Rectangle 34">
                <a:extLst>
                  <a:ext uri="{FF2B5EF4-FFF2-40B4-BE49-F238E27FC236}">
                    <a16:creationId xmlns:a16="http://schemas.microsoft.com/office/drawing/2014/main" id="{F6FEF8DA-E406-4A77-BB5C-66785DE7D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6" name="Rectangle 35">
                <a:extLst>
                  <a:ext uri="{FF2B5EF4-FFF2-40B4-BE49-F238E27FC236}">
                    <a16:creationId xmlns:a16="http://schemas.microsoft.com/office/drawing/2014/main" id="{98BCAF4F-96B6-4583-ABA1-EA7180BC76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7" name="Rectangle 36">
                <a:extLst>
                  <a:ext uri="{FF2B5EF4-FFF2-40B4-BE49-F238E27FC236}">
                    <a16:creationId xmlns:a16="http://schemas.microsoft.com/office/drawing/2014/main" id="{63B3871A-9CEC-48D0-A7CD-4EB61563E0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8" name="Rectangle 37">
                <a:extLst>
                  <a:ext uri="{FF2B5EF4-FFF2-40B4-BE49-F238E27FC236}">
                    <a16:creationId xmlns:a16="http://schemas.microsoft.com/office/drawing/2014/main" id="{56091341-1622-4A44-AEBC-2C1A6C5E96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9" name="Rectangle 38">
                <a:extLst>
                  <a:ext uri="{FF2B5EF4-FFF2-40B4-BE49-F238E27FC236}">
                    <a16:creationId xmlns:a16="http://schemas.microsoft.com/office/drawing/2014/main" id="{FDCA88BD-8A0B-4803-8BCD-DBCFE50665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0" name="Rectangle 39">
                <a:extLst>
                  <a:ext uri="{FF2B5EF4-FFF2-40B4-BE49-F238E27FC236}">
                    <a16:creationId xmlns:a16="http://schemas.microsoft.com/office/drawing/2014/main" id="{1752D24A-95D1-4BF5-942F-7403FFC979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1" name="Rectangle 40">
                <a:extLst>
                  <a:ext uri="{FF2B5EF4-FFF2-40B4-BE49-F238E27FC236}">
                    <a16:creationId xmlns:a16="http://schemas.microsoft.com/office/drawing/2014/main" id="{DDAD0B10-607F-4F76-B8E2-856CEFF459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2" name="Rectangle 41">
                <a:extLst>
                  <a:ext uri="{FF2B5EF4-FFF2-40B4-BE49-F238E27FC236}">
                    <a16:creationId xmlns:a16="http://schemas.microsoft.com/office/drawing/2014/main" id="{D86AE034-410A-4325-8973-EAF7C3B581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3" name="Rectangle 42">
                <a:extLst>
                  <a:ext uri="{FF2B5EF4-FFF2-40B4-BE49-F238E27FC236}">
                    <a16:creationId xmlns:a16="http://schemas.microsoft.com/office/drawing/2014/main" id="{420697CC-D29F-47F9-B11D-10251B5B9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4" name="Rectangle 43">
                <a:extLst>
                  <a:ext uri="{FF2B5EF4-FFF2-40B4-BE49-F238E27FC236}">
                    <a16:creationId xmlns:a16="http://schemas.microsoft.com/office/drawing/2014/main" id="{73620A14-7B53-4E94-B3B4-C239CA820B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5" name="Rectangle 44">
                <a:extLst>
                  <a:ext uri="{FF2B5EF4-FFF2-40B4-BE49-F238E27FC236}">
                    <a16:creationId xmlns:a16="http://schemas.microsoft.com/office/drawing/2014/main" id="{036C0721-D3AE-432E-B178-520AFE536C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4" name="Slide edges">
              <a:extLst>
                <a:ext uri="{FF2B5EF4-FFF2-40B4-BE49-F238E27FC236}">
                  <a16:creationId xmlns:a16="http://schemas.microsoft.com/office/drawing/2014/main" id="{00D602B6-43AC-4014-A447-2EE61049D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5" name="Footnote measure">
              <a:extLst>
                <a:ext uri="{FF2B5EF4-FFF2-40B4-BE49-F238E27FC236}">
                  <a16:creationId xmlns:a16="http://schemas.microsoft.com/office/drawing/2014/main" id="{2B634860-1500-42B7-B1D9-3DEC0117C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76" name="Whitespace measure">
              <a:extLst>
                <a:ext uri="{FF2B5EF4-FFF2-40B4-BE49-F238E27FC236}">
                  <a16:creationId xmlns:a16="http://schemas.microsoft.com/office/drawing/2014/main" id="{93F63E8E-37C1-4FB4-9789-977EBD9DF9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77" name="Five column measure">
              <a:extLst>
                <a:ext uri="{FF2B5EF4-FFF2-40B4-BE49-F238E27FC236}">
                  <a16:creationId xmlns:a16="http://schemas.microsoft.com/office/drawing/2014/main" id="{1AAD3B61-EA13-412D-A034-51AC471AC5AC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80" name="Rectangle 5">
                <a:extLst>
                  <a:ext uri="{FF2B5EF4-FFF2-40B4-BE49-F238E27FC236}">
                    <a16:creationId xmlns:a16="http://schemas.microsoft.com/office/drawing/2014/main" id="{5506CC4E-A9C4-438F-9A3F-96182A75E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1" name="Rectangle 7">
                <a:extLst>
                  <a:ext uri="{FF2B5EF4-FFF2-40B4-BE49-F238E27FC236}">
                    <a16:creationId xmlns:a16="http://schemas.microsoft.com/office/drawing/2014/main" id="{1F032728-5EDC-495D-8244-DE0BE42A5B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2" name="Rectangle 9">
                <a:extLst>
                  <a:ext uri="{FF2B5EF4-FFF2-40B4-BE49-F238E27FC236}">
                    <a16:creationId xmlns:a16="http://schemas.microsoft.com/office/drawing/2014/main" id="{2D75812C-FA03-4CBC-8BB2-F5CF950F07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3" name="Rectangle 11">
                <a:extLst>
                  <a:ext uri="{FF2B5EF4-FFF2-40B4-BE49-F238E27FC236}">
                    <a16:creationId xmlns:a16="http://schemas.microsoft.com/office/drawing/2014/main" id="{9FCE93D4-CE77-4D88-9735-6FCAC5F241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4" name="Rectangle 13">
                <a:extLst>
                  <a:ext uri="{FF2B5EF4-FFF2-40B4-BE49-F238E27FC236}">
                    <a16:creationId xmlns:a16="http://schemas.microsoft.com/office/drawing/2014/main" id="{EB18EFE9-FEC5-48E0-BA3E-10C3C75A80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8" name="Live area">
              <a:extLst>
                <a:ext uri="{FF2B5EF4-FFF2-40B4-BE49-F238E27FC236}">
                  <a16:creationId xmlns:a16="http://schemas.microsoft.com/office/drawing/2014/main" id="{E1464F76-1617-4CCA-8871-DB77ECCB8E8D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79" name="ee4pFootnotes">
              <a:extLst>
                <a:ext uri="{FF2B5EF4-FFF2-40B4-BE49-F238E27FC236}">
                  <a16:creationId xmlns:a16="http://schemas.microsoft.com/office/drawing/2014/main" id="{8483420E-9242-4947-B5F3-1922B03C5B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60684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7" y="4691188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8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200"/>
            <a:ext cx="3448800" cy="116260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144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1450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002961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1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495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4548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5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2" y="3207716"/>
            <a:ext cx="1547143" cy="4221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3048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94952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79B06C1F-BB85-4DD7-B99A-DE6BE2F699C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3" name="No fly zone">
              <a:extLst>
                <a:ext uri="{FF2B5EF4-FFF2-40B4-BE49-F238E27FC236}">
                  <a16:creationId xmlns:a16="http://schemas.microsoft.com/office/drawing/2014/main" id="{5BE0206C-E9B7-44A8-B943-39660205FFA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6337A840-7DC0-44AB-B1D6-EEA32C8B4FFF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02CE8B9F-CF74-486E-8634-47F3455D7F2D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FB3B3C51-92CF-4CD7-9E57-C4206779197F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E36E2FB8-DA38-4FE0-8765-211B76ECEFA6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4F497A31-60DA-449B-9477-F9EFB4F4C7C5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B1EDE6F6-F4BD-40E6-ADCB-BCF1358D3F17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5FE8841-2C54-47C8-B29A-6E562E40547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40F52F3-8235-418B-8A74-6FE060B1D171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4CED132E-8CB2-465D-BA02-5D07BC58FF6C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141DBDBF-5CF1-464A-8209-EEC64DE672DA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8C2A0870-87CA-4483-B1C8-3E52F3294870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E199BE98-9C1A-4188-9C5A-B4EE7733452F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F4D550D7-72C3-4DF6-9EE5-EFD724B89527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42FEA2-0098-4367-BA36-5DFF52FE0EA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A56E5925-2BB3-4C0F-B709-714DA8FF1B55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DDE3DD4A-5257-4C0B-9CC5-00D2F632BDF6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05663B1F-B5C3-4E8C-8420-3D1B2EE18F90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D2BCC30-7703-4A29-8729-0D826001A675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689E7287-E05F-4EBF-840B-40D19EE0571F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AAB3F59B-6834-4139-9D02-58D5CCDFE130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4" name="Gutter space">
              <a:extLst>
                <a:ext uri="{FF2B5EF4-FFF2-40B4-BE49-F238E27FC236}">
                  <a16:creationId xmlns:a16="http://schemas.microsoft.com/office/drawing/2014/main" id="{8FD8D4DB-AB91-454E-B1BA-BB0E90D6E750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26" name="Rectangle 34">
                <a:extLst>
                  <a:ext uri="{FF2B5EF4-FFF2-40B4-BE49-F238E27FC236}">
                    <a16:creationId xmlns:a16="http://schemas.microsoft.com/office/drawing/2014/main" id="{CC2A1031-8BB8-42DB-A99C-D58B835307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7" name="Rectangle 35">
                <a:extLst>
                  <a:ext uri="{FF2B5EF4-FFF2-40B4-BE49-F238E27FC236}">
                    <a16:creationId xmlns:a16="http://schemas.microsoft.com/office/drawing/2014/main" id="{91BF26E8-7A30-48EF-8F02-663BFEE98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8" name="Rectangle 36">
                <a:extLst>
                  <a:ext uri="{FF2B5EF4-FFF2-40B4-BE49-F238E27FC236}">
                    <a16:creationId xmlns:a16="http://schemas.microsoft.com/office/drawing/2014/main" id="{C2A80C6B-A60A-478C-95C0-01EF0BAF7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9" name="Rectangle 37">
                <a:extLst>
                  <a:ext uri="{FF2B5EF4-FFF2-40B4-BE49-F238E27FC236}">
                    <a16:creationId xmlns:a16="http://schemas.microsoft.com/office/drawing/2014/main" id="{F69D71B4-E7BF-4198-8F31-BC36AF934C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0" name="Rectangle 38">
                <a:extLst>
                  <a:ext uri="{FF2B5EF4-FFF2-40B4-BE49-F238E27FC236}">
                    <a16:creationId xmlns:a16="http://schemas.microsoft.com/office/drawing/2014/main" id="{61C51D5A-AABF-4FE9-A7B4-B957834B16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1" name="Rectangle 39">
                <a:extLst>
                  <a:ext uri="{FF2B5EF4-FFF2-40B4-BE49-F238E27FC236}">
                    <a16:creationId xmlns:a16="http://schemas.microsoft.com/office/drawing/2014/main" id="{980D98DE-5C59-4489-888E-0E53D8EBBD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2" name="Rectangle 40">
                <a:extLst>
                  <a:ext uri="{FF2B5EF4-FFF2-40B4-BE49-F238E27FC236}">
                    <a16:creationId xmlns:a16="http://schemas.microsoft.com/office/drawing/2014/main" id="{0FEBCA4B-01F4-4022-A743-78551281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3" name="Rectangle 41">
                <a:extLst>
                  <a:ext uri="{FF2B5EF4-FFF2-40B4-BE49-F238E27FC236}">
                    <a16:creationId xmlns:a16="http://schemas.microsoft.com/office/drawing/2014/main" id="{C6C94FE9-ACF6-466B-8BFC-90AF10F8D8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8" name="Rectangle 42">
                <a:extLst>
                  <a:ext uri="{FF2B5EF4-FFF2-40B4-BE49-F238E27FC236}">
                    <a16:creationId xmlns:a16="http://schemas.microsoft.com/office/drawing/2014/main" id="{8FD84607-9D05-4CFF-85C0-30A674044D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9" name="Rectangle 43">
                <a:extLst>
                  <a:ext uri="{FF2B5EF4-FFF2-40B4-BE49-F238E27FC236}">
                    <a16:creationId xmlns:a16="http://schemas.microsoft.com/office/drawing/2014/main" id="{314CFB9D-AA18-4CF0-B56F-39FCAEBC5F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40" name="Rectangle 44">
                <a:extLst>
                  <a:ext uri="{FF2B5EF4-FFF2-40B4-BE49-F238E27FC236}">
                    <a16:creationId xmlns:a16="http://schemas.microsoft.com/office/drawing/2014/main" id="{19F2F422-5791-46D9-B4EF-7A6B3FEEB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5" name="Slide edges">
              <a:extLst>
                <a:ext uri="{FF2B5EF4-FFF2-40B4-BE49-F238E27FC236}">
                  <a16:creationId xmlns:a16="http://schemas.microsoft.com/office/drawing/2014/main" id="{91A96CCE-1E1D-495D-B295-5DB0B79E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6" name="Footnote measure">
              <a:extLst>
                <a:ext uri="{FF2B5EF4-FFF2-40B4-BE49-F238E27FC236}">
                  <a16:creationId xmlns:a16="http://schemas.microsoft.com/office/drawing/2014/main" id="{082346B9-B2AB-4A25-BFF2-93A06510D7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117" name="Whitespace measure">
              <a:extLst>
                <a:ext uri="{FF2B5EF4-FFF2-40B4-BE49-F238E27FC236}">
                  <a16:creationId xmlns:a16="http://schemas.microsoft.com/office/drawing/2014/main" id="{8A89F410-D3E7-48FC-BC17-C16B289BD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118" name="Five column measure">
              <a:extLst>
                <a:ext uri="{FF2B5EF4-FFF2-40B4-BE49-F238E27FC236}">
                  <a16:creationId xmlns:a16="http://schemas.microsoft.com/office/drawing/2014/main" id="{AF0A0B4D-52AE-451B-BF63-A30764B88FC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21" name="Rectangle 5">
                <a:extLst>
                  <a:ext uri="{FF2B5EF4-FFF2-40B4-BE49-F238E27FC236}">
                    <a16:creationId xmlns:a16="http://schemas.microsoft.com/office/drawing/2014/main" id="{E4633997-92FB-4F33-ACEC-BACB0E100A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2" name="Rectangle 7">
                <a:extLst>
                  <a:ext uri="{FF2B5EF4-FFF2-40B4-BE49-F238E27FC236}">
                    <a16:creationId xmlns:a16="http://schemas.microsoft.com/office/drawing/2014/main" id="{1605E953-67F6-4A2E-9BA4-F92A05B0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3" name="Rectangle 9">
                <a:extLst>
                  <a:ext uri="{FF2B5EF4-FFF2-40B4-BE49-F238E27FC236}">
                    <a16:creationId xmlns:a16="http://schemas.microsoft.com/office/drawing/2014/main" id="{F634DDE8-781F-457F-97FB-43C53E5E84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4" name="Rectangle 11">
                <a:extLst>
                  <a:ext uri="{FF2B5EF4-FFF2-40B4-BE49-F238E27FC236}">
                    <a16:creationId xmlns:a16="http://schemas.microsoft.com/office/drawing/2014/main" id="{46C9C76A-4338-4B38-B390-FB55CDB05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5" name="Rectangle 13">
                <a:extLst>
                  <a:ext uri="{FF2B5EF4-FFF2-40B4-BE49-F238E27FC236}">
                    <a16:creationId xmlns:a16="http://schemas.microsoft.com/office/drawing/2014/main" id="{B256419B-BD9C-41DA-89E6-40B93C0B1A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9" name="Live area">
              <a:extLst>
                <a:ext uri="{FF2B5EF4-FFF2-40B4-BE49-F238E27FC236}">
                  <a16:creationId xmlns:a16="http://schemas.microsoft.com/office/drawing/2014/main" id="{4E8E0BA1-EDEF-43F8-B210-C8091C804194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120" name="ee4pFootnotes">
              <a:extLst>
                <a:ext uri="{FF2B5EF4-FFF2-40B4-BE49-F238E27FC236}">
                  <a16:creationId xmlns:a16="http://schemas.microsoft.com/office/drawing/2014/main" id="{97DE969B-57F2-4041-BB48-E2DE763F4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62426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7" y="4691188"/>
            <a:ext cx="929337" cy="995874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8"/>
            <a:ext cx="1570152" cy="1468176"/>
          </a:xfrm>
          <a:prstGeom prst="rect">
            <a:avLst/>
          </a:prstGeom>
          <a:noFill/>
          <a:ln w="9525" cmpd="sng">
            <a:solidFill>
              <a:srgbClr val="4472C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162606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144">
                <a:solidFill>
                  <a:srgbClr val="4472C4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827977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356543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1"/>
            <a:ext cx="9619200" cy="3200400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471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rgbClr val="4472C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4562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5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2" y="3262146"/>
            <a:ext cx="1161047" cy="3165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2286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86433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4472C4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0546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7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715"/>
          </a:p>
        </p:txBody>
      </p:sp>
      <p:sp>
        <p:nvSpPr>
          <p:cNvPr id="8" name="Rectangle 7"/>
          <p:cNvSpPr/>
          <p:nvPr/>
        </p:nvSpPr>
        <p:spPr>
          <a:xfrm>
            <a:off x="17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715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3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7621" spc="-48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286" cap="all" spc="191" baseline="0">
                <a:solidFill>
                  <a:schemeClr val="tx2"/>
                </a:solidFill>
                <a:latin typeface="+mj-lt"/>
              </a:defRPr>
            </a:lvl1pPr>
            <a:lvl2pPr marL="435529" indent="0" algn="ctr">
              <a:buNone/>
              <a:defRPr sz="2286"/>
            </a:lvl2pPr>
            <a:lvl3pPr marL="871057" indent="0" algn="ctr">
              <a:buNone/>
              <a:defRPr sz="2286"/>
            </a:lvl3pPr>
            <a:lvl4pPr marL="1306586" indent="0" algn="ctr">
              <a:buNone/>
              <a:defRPr sz="1905"/>
            </a:lvl4pPr>
            <a:lvl5pPr marL="1742115" indent="0" algn="ctr">
              <a:buNone/>
              <a:defRPr sz="1905"/>
            </a:lvl5pPr>
            <a:lvl6pPr marL="2177644" indent="0" algn="ctr">
              <a:buNone/>
              <a:defRPr sz="1905"/>
            </a:lvl6pPr>
            <a:lvl7pPr marL="2613172" indent="0" algn="ctr">
              <a:buNone/>
              <a:defRPr sz="1905"/>
            </a:lvl7pPr>
            <a:lvl8pPr marL="3048701" indent="0" algn="ctr">
              <a:buNone/>
              <a:defRPr sz="1905"/>
            </a:lvl8pPr>
            <a:lvl9pPr marL="3484230" indent="0" algn="ctr">
              <a:buNone/>
              <a:defRPr sz="1905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3" y="6562828"/>
            <a:ext cx="1482051" cy="322524"/>
          </a:xfrm>
        </p:spPr>
        <p:txBody>
          <a:bodyPr/>
          <a:lstStyle>
            <a:lvl1pPr>
              <a:defRPr sz="1048"/>
            </a:lvl1pPr>
          </a:lstStyle>
          <a:p>
            <a:r>
              <a:rPr lang="en-US"/>
              <a:t>Investors' Meet | Houston | Sept. 2022</a:t>
            </a:r>
            <a:endParaRPr lang="en-US" sz="1048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48"/>
            </a:lvl1pPr>
          </a:lstStyle>
          <a:p>
            <a:endParaRPr lang="en-US" sz="1048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334"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7885873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310" y="268131"/>
            <a:ext cx="11933381" cy="316640"/>
          </a:xfrm>
        </p:spPr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207102"/>
            <a:ext cx="1482051" cy="351822"/>
          </a:xfrm>
        </p:spPr>
        <p:txBody>
          <a:bodyPr/>
          <a:lstStyle>
            <a:lvl1pPr>
              <a:defRPr sz="1143"/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43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334"/>
            </a:lvl1pPr>
          </a:lstStyle>
          <a:p>
            <a:fld id="{629637A9-119A-49DA-BD12-AAC58B377D80}" type="slidenum">
              <a:rPr lang="en-US" smtClean="0"/>
              <a:pPr/>
              <a:t>‹#›</a:t>
            </a:fld>
            <a:endParaRPr lang="en-US" sz="1334"/>
          </a:p>
        </p:txBody>
      </p:sp>
    </p:spTree>
    <p:extLst>
      <p:ext uri="{BB962C8B-B14F-4D97-AF65-F5344CB8AC3E}">
        <p14:creationId xmlns:p14="http://schemas.microsoft.com/office/powerpoint/2010/main" val="4083770489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6800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82C103E6-56C0-4803-91FF-919D27F75820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DC84CFD-DDA8-40AC-B7BC-774D356E8F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5C5F7BC-6CB5-4CB3-84A5-E064690BD1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C3825231-F16B-47F4-BB89-AF2B79C488B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3" y="5570643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28D422-7258-4118-BAB2-F0AF6381E74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C9A652C-DEE4-4F9F-8889-3FABCF7248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73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00510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48573"/>
          </a:xfrm>
        </p:spPr>
        <p:txBody>
          <a:bodyPr/>
          <a:lstStyle>
            <a:lvl1pPr>
              <a:defRPr sz="3239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1" y="2085629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6416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441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982FCF9-715C-428B-BF36-7A5FDD25DD11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AA51026-CFD8-4A3F-8CE3-E57CC80008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9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10EB070-E5FD-4DDE-AC6D-8D220B43C2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A19FD62A-4798-4917-A473-5F81A636E03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9" y="5570646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1CAD31A-51CF-4015-A4CF-439ED367950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B13BA057-D0D7-4048-A5E9-90EDED33BE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AA7AA96B-70E0-48A7-BF25-15A32D03D7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56417A15-B32C-4CA2-AAE3-DBFD5511B0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409716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08374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4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5924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858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66319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63002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5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4808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38115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19567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917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 baseline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5233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048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99648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5"/>
            <a:ext cx="10933350" cy="316640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01271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535">
          <p15:clr>
            <a:srgbClr val="FBAE40"/>
          </p15:clr>
        </p15:guide>
      </p15:sldGuideLst>
    </p:ext>
  </p:extLs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366602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7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9508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6757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8783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2652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8381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3277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845543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588155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56685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064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</p:spPr>
        <p:txBody>
          <a:bodyPr/>
          <a:lstStyle>
            <a:lvl1pPr>
              <a:defRPr sz="323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03290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01076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66873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26407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52119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40343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B9A61024-EF5F-4D4F-8BEF-C9DBCF564F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0929A6-AA90-4BE3-A794-0C9DA8110263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2940720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79B06C1F-BB85-4DD7-B99A-DE6BE2F699C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3" name="No fly zone">
              <a:extLst>
                <a:ext uri="{FF2B5EF4-FFF2-40B4-BE49-F238E27FC236}">
                  <a16:creationId xmlns:a16="http://schemas.microsoft.com/office/drawing/2014/main" id="{5BE0206C-E9B7-44A8-B943-39660205FFA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6337A840-7DC0-44AB-B1D6-EEA32C8B4FFF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02CE8B9F-CF74-486E-8634-47F3455D7F2D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FB3B3C51-92CF-4CD7-9E57-C4206779197F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E36E2FB8-DA38-4FE0-8765-211B76ECEFA6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4F497A31-60DA-449B-9477-F9EFB4F4C7C5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B1EDE6F6-F4BD-40E6-ADCB-BCF1358D3F17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5FE8841-2C54-47C8-B29A-6E562E40547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40F52F3-8235-418B-8A74-6FE060B1D171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4CED132E-8CB2-465D-BA02-5D07BC58FF6C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141DBDBF-5CF1-464A-8209-EEC64DE672DA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8C2A0870-87CA-4483-B1C8-3E52F3294870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E199BE98-9C1A-4188-9C5A-B4EE7733452F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F4D550D7-72C3-4DF6-9EE5-EFD724B89527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42FEA2-0098-4367-BA36-5DFF52FE0EA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A56E5925-2BB3-4C0F-B709-714DA8FF1B55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DDE3DD4A-5257-4C0B-9CC5-00D2F632BDF6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05663B1F-B5C3-4E8C-8420-3D1B2EE18F90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D2BCC30-7703-4A29-8729-0D826001A675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689E7287-E05F-4EBF-840B-40D19EE0571F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AAB3F59B-6834-4139-9D02-58D5CCDFE130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4" name="Gutter space">
              <a:extLst>
                <a:ext uri="{FF2B5EF4-FFF2-40B4-BE49-F238E27FC236}">
                  <a16:creationId xmlns:a16="http://schemas.microsoft.com/office/drawing/2014/main" id="{8FD8D4DB-AB91-454E-B1BA-BB0E90D6E750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26" name="Rectangle 34">
                <a:extLst>
                  <a:ext uri="{FF2B5EF4-FFF2-40B4-BE49-F238E27FC236}">
                    <a16:creationId xmlns:a16="http://schemas.microsoft.com/office/drawing/2014/main" id="{CC2A1031-8BB8-42DB-A99C-D58B835307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7" name="Rectangle 35">
                <a:extLst>
                  <a:ext uri="{FF2B5EF4-FFF2-40B4-BE49-F238E27FC236}">
                    <a16:creationId xmlns:a16="http://schemas.microsoft.com/office/drawing/2014/main" id="{91BF26E8-7A30-48EF-8F02-663BFEE98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8" name="Rectangle 36">
                <a:extLst>
                  <a:ext uri="{FF2B5EF4-FFF2-40B4-BE49-F238E27FC236}">
                    <a16:creationId xmlns:a16="http://schemas.microsoft.com/office/drawing/2014/main" id="{C2A80C6B-A60A-478C-95C0-01EF0BAF7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9" name="Rectangle 37">
                <a:extLst>
                  <a:ext uri="{FF2B5EF4-FFF2-40B4-BE49-F238E27FC236}">
                    <a16:creationId xmlns:a16="http://schemas.microsoft.com/office/drawing/2014/main" id="{F69D71B4-E7BF-4198-8F31-BC36AF934C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0" name="Rectangle 38">
                <a:extLst>
                  <a:ext uri="{FF2B5EF4-FFF2-40B4-BE49-F238E27FC236}">
                    <a16:creationId xmlns:a16="http://schemas.microsoft.com/office/drawing/2014/main" id="{61C51D5A-AABF-4FE9-A7B4-B957834B16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1" name="Rectangle 39">
                <a:extLst>
                  <a:ext uri="{FF2B5EF4-FFF2-40B4-BE49-F238E27FC236}">
                    <a16:creationId xmlns:a16="http://schemas.microsoft.com/office/drawing/2014/main" id="{980D98DE-5C59-4489-888E-0E53D8EBBD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2" name="Rectangle 40">
                <a:extLst>
                  <a:ext uri="{FF2B5EF4-FFF2-40B4-BE49-F238E27FC236}">
                    <a16:creationId xmlns:a16="http://schemas.microsoft.com/office/drawing/2014/main" id="{0FEBCA4B-01F4-4022-A743-78551281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3" name="Rectangle 41">
                <a:extLst>
                  <a:ext uri="{FF2B5EF4-FFF2-40B4-BE49-F238E27FC236}">
                    <a16:creationId xmlns:a16="http://schemas.microsoft.com/office/drawing/2014/main" id="{C6C94FE9-ACF6-466B-8BFC-90AF10F8D8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8" name="Rectangle 42">
                <a:extLst>
                  <a:ext uri="{FF2B5EF4-FFF2-40B4-BE49-F238E27FC236}">
                    <a16:creationId xmlns:a16="http://schemas.microsoft.com/office/drawing/2014/main" id="{8FD84607-9D05-4CFF-85C0-30A674044D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9" name="Rectangle 43">
                <a:extLst>
                  <a:ext uri="{FF2B5EF4-FFF2-40B4-BE49-F238E27FC236}">
                    <a16:creationId xmlns:a16="http://schemas.microsoft.com/office/drawing/2014/main" id="{314CFB9D-AA18-4CF0-B56F-39FCAEBC5F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40" name="Rectangle 44">
                <a:extLst>
                  <a:ext uri="{FF2B5EF4-FFF2-40B4-BE49-F238E27FC236}">
                    <a16:creationId xmlns:a16="http://schemas.microsoft.com/office/drawing/2014/main" id="{19F2F422-5791-46D9-B4EF-7A6B3FEEB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5" name="Slide edges">
              <a:extLst>
                <a:ext uri="{FF2B5EF4-FFF2-40B4-BE49-F238E27FC236}">
                  <a16:creationId xmlns:a16="http://schemas.microsoft.com/office/drawing/2014/main" id="{91A96CCE-1E1D-495D-B295-5DB0B79E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6" name="Footnote measure">
              <a:extLst>
                <a:ext uri="{FF2B5EF4-FFF2-40B4-BE49-F238E27FC236}">
                  <a16:creationId xmlns:a16="http://schemas.microsoft.com/office/drawing/2014/main" id="{082346B9-B2AB-4A25-BFF2-93A06510D7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117" name="Whitespace measure">
              <a:extLst>
                <a:ext uri="{FF2B5EF4-FFF2-40B4-BE49-F238E27FC236}">
                  <a16:creationId xmlns:a16="http://schemas.microsoft.com/office/drawing/2014/main" id="{8A89F410-D3E7-48FC-BC17-C16B289BD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118" name="Five column measure">
              <a:extLst>
                <a:ext uri="{FF2B5EF4-FFF2-40B4-BE49-F238E27FC236}">
                  <a16:creationId xmlns:a16="http://schemas.microsoft.com/office/drawing/2014/main" id="{AF0A0B4D-52AE-451B-BF63-A30764B88FC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21" name="Rectangle 5">
                <a:extLst>
                  <a:ext uri="{FF2B5EF4-FFF2-40B4-BE49-F238E27FC236}">
                    <a16:creationId xmlns:a16="http://schemas.microsoft.com/office/drawing/2014/main" id="{E4633997-92FB-4F33-ACEC-BACB0E100A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2" name="Rectangle 7">
                <a:extLst>
                  <a:ext uri="{FF2B5EF4-FFF2-40B4-BE49-F238E27FC236}">
                    <a16:creationId xmlns:a16="http://schemas.microsoft.com/office/drawing/2014/main" id="{1605E953-67F6-4A2E-9BA4-F92A05B0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3" name="Rectangle 9">
                <a:extLst>
                  <a:ext uri="{FF2B5EF4-FFF2-40B4-BE49-F238E27FC236}">
                    <a16:creationId xmlns:a16="http://schemas.microsoft.com/office/drawing/2014/main" id="{F634DDE8-781F-457F-97FB-43C53E5E84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4" name="Rectangle 11">
                <a:extLst>
                  <a:ext uri="{FF2B5EF4-FFF2-40B4-BE49-F238E27FC236}">
                    <a16:creationId xmlns:a16="http://schemas.microsoft.com/office/drawing/2014/main" id="{46C9C76A-4338-4B38-B390-FB55CDB05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5" name="Rectangle 13">
                <a:extLst>
                  <a:ext uri="{FF2B5EF4-FFF2-40B4-BE49-F238E27FC236}">
                    <a16:creationId xmlns:a16="http://schemas.microsoft.com/office/drawing/2014/main" id="{B256419B-BD9C-41DA-89E6-40B93C0B1A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9" name="Live area">
              <a:extLst>
                <a:ext uri="{FF2B5EF4-FFF2-40B4-BE49-F238E27FC236}">
                  <a16:creationId xmlns:a16="http://schemas.microsoft.com/office/drawing/2014/main" id="{4E8E0BA1-EDEF-43F8-B210-C8091C804194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120" name="ee4pFootnotes">
              <a:extLst>
                <a:ext uri="{FF2B5EF4-FFF2-40B4-BE49-F238E27FC236}">
                  <a16:creationId xmlns:a16="http://schemas.microsoft.com/office/drawing/2014/main" id="{97DE969B-57F2-4041-BB48-E2DE763F4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163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3735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982FCF9-715C-428B-BF36-7A5FDD25DD11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AA51026-CFD8-4A3F-8CE3-E57CC80008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10EB070-E5FD-4DDE-AC6D-8D220B43C2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A19FD62A-4798-4917-A473-5F81A636E03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3" y="5570643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1CAD31A-51CF-4015-A4CF-439ED367950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B13BA057-D0D7-4048-A5E9-90EDED33BE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AA7AA96B-70E0-48A7-BF25-15A32D03D7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56417A15-B32C-4CA2-AAE3-DBFD5511B0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816038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350" cy="316640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51691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535">
          <p15:clr>
            <a:srgbClr val="FBAE40"/>
          </p15:clr>
        </p15:guide>
      </p15:sldGuideLst>
    </p:ext>
  </p:extLs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52055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2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defRPr>
            </a:lvl1pPr>
            <a:lvl2pPr marL="435529" indent="0" algn="ctr">
              <a:buNone/>
              <a:defRPr sz="1905"/>
            </a:lvl2pPr>
            <a:lvl3pPr marL="871057" indent="0" algn="ctr">
              <a:buNone/>
              <a:defRPr sz="1715"/>
            </a:lvl3pPr>
            <a:lvl4pPr marL="1306586" indent="0" algn="ctr">
              <a:buNone/>
              <a:defRPr sz="1524"/>
            </a:lvl4pPr>
            <a:lvl5pPr marL="1742115" indent="0" algn="ctr">
              <a:buNone/>
              <a:defRPr sz="1524"/>
            </a:lvl5pPr>
            <a:lvl6pPr marL="2177644" indent="0" algn="ctr">
              <a:buNone/>
              <a:defRPr sz="1524"/>
            </a:lvl6pPr>
            <a:lvl7pPr marL="2613172" indent="0" algn="ctr">
              <a:buNone/>
              <a:defRPr sz="1524"/>
            </a:lvl7pPr>
            <a:lvl8pPr marL="3048701" indent="0" algn="ctr">
              <a:buNone/>
              <a:defRPr sz="1524"/>
            </a:lvl8pPr>
            <a:lvl9pPr marL="3484230" indent="0" algn="ctr">
              <a:buNone/>
              <a:defRPr sz="1524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9"/>
            <a:ext cx="3744000" cy="664797"/>
          </a:xfrm>
        </p:spPr>
        <p:txBody>
          <a:bodyPr anchor="t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81536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6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4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264796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2"/>
            <a:ext cx="951721" cy="951721"/>
          </a:xfrm>
          <a:prstGeom prst="rect">
            <a:avLst/>
          </a:prstGeom>
          <a:noFill/>
          <a:ln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080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5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2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defRPr>
            </a:lvl1pPr>
            <a:lvl2pPr marL="435529" indent="0" algn="ctr">
              <a:buNone/>
              <a:defRPr sz="1905"/>
            </a:lvl2pPr>
            <a:lvl3pPr marL="871057" indent="0" algn="ctr">
              <a:buNone/>
              <a:defRPr sz="1715"/>
            </a:lvl3pPr>
            <a:lvl4pPr marL="1306586" indent="0" algn="ctr">
              <a:buNone/>
              <a:defRPr sz="1524"/>
            </a:lvl4pPr>
            <a:lvl5pPr marL="1742115" indent="0" algn="ctr">
              <a:buNone/>
              <a:defRPr sz="1524"/>
            </a:lvl5pPr>
            <a:lvl6pPr marL="2177644" indent="0" algn="ctr">
              <a:buNone/>
              <a:defRPr sz="1524"/>
            </a:lvl6pPr>
            <a:lvl7pPr marL="2613172" indent="0" algn="ctr">
              <a:buNone/>
              <a:defRPr sz="1524"/>
            </a:lvl7pPr>
            <a:lvl8pPr marL="3048701" indent="0" algn="ctr">
              <a:buNone/>
              <a:defRPr sz="1524"/>
            </a:lvl8pPr>
            <a:lvl9pPr marL="3484230" indent="0" algn="ctr">
              <a:buNone/>
              <a:defRPr sz="1524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52"/>
            <a:ext cx="3744000" cy="664797"/>
          </a:xfrm>
        </p:spPr>
        <p:txBody>
          <a:bodyPr anchor="t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39579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6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383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4112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1"/>
            <a:ext cx="6276529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54113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8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8101584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44842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5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619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21561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4509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128410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6125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39296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7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5856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50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264796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7" y="1424085"/>
            <a:ext cx="951721" cy="951721"/>
          </a:xfrm>
          <a:prstGeom prst="rect">
            <a:avLst/>
          </a:prstGeom>
          <a:noFill/>
          <a:ln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231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8903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7253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6250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332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1509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056270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21601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424457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6493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200" cy="31664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40398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3416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1534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913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0547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86406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413368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A391E1D-6927-4B36-986D-E693D888F8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F46813C-089B-42DD-93EF-4FAD03D8F41D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2596514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186EDF6-F493-451E-A790-F103405D687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E043909A-6757-45F3-BA9E-CD764990903A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F872CE8F-3F0B-4F10-9C46-F1971232C540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424B456A-ACDB-452F-A82C-A447A8022FC5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10EC6263-C735-435C-B5FB-A1A090D82696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BCFC957E-A1AA-4488-B4F7-E42719D90083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860ED8C1-914B-4FE2-B202-3EADDA88671B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D2D67AD1-78E4-4ACD-A2B4-E755EE0BC3EE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A2614495-B0AA-4BFB-AAFC-C277AB1903E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B31AC91-26B0-46CE-A559-6170B43B5436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4F3AC0CE-CAD1-4292-BAD3-251D546DBC98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EA7F5A4-1850-4AC2-9D22-F35FD755199B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EF02D1C-4F7D-42B1-949D-F6F32794F0CD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D7010C52-AD41-4AC8-BDDD-DDA0DAC1313A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A87E638F-7416-47FB-BC05-73E41DA33B52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05BD109-9013-4BAA-A2E0-E0D14BD8A6D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CB3C821B-BE4C-4939-90A7-7C674C6CC188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286A8CF5-F350-482E-A284-B52BD7223372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B06DE91-73BB-4FE0-B581-AC7421221637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5FDFD0DD-D795-4666-A1B7-830D6E1999DF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122FBAC-3E0E-4642-9209-057F14DBD9CA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328CBA-E718-4667-9ACD-A752E3933D74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3" name="Gutter space">
              <a:extLst>
                <a:ext uri="{FF2B5EF4-FFF2-40B4-BE49-F238E27FC236}">
                  <a16:creationId xmlns:a16="http://schemas.microsoft.com/office/drawing/2014/main" id="{376D823D-D34D-49F5-BE43-29837D19CF43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85" name="Rectangle 34">
                <a:extLst>
                  <a:ext uri="{FF2B5EF4-FFF2-40B4-BE49-F238E27FC236}">
                    <a16:creationId xmlns:a16="http://schemas.microsoft.com/office/drawing/2014/main" id="{F6FEF8DA-E406-4A77-BB5C-66785DE7D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6" name="Rectangle 35">
                <a:extLst>
                  <a:ext uri="{FF2B5EF4-FFF2-40B4-BE49-F238E27FC236}">
                    <a16:creationId xmlns:a16="http://schemas.microsoft.com/office/drawing/2014/main" id="{98BCAF4F-96B6-4583-ABA1-EA7180BC76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7" name="Rectangle 36">
                <a:extLst>
                  <a:ext uri="{FF2B5EF4-FFF2-40B4-BE49-F238E27FC236}">
                    <a16:creationId xmlns:a16="http://schemas.microsoft.com/office/drawing/2014/main" id="{63B3871A-9CEC-48D0-A7CD-4EB61563E0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8" name="Rectangle 37">
                <a:extLst>
                  <a:ext uri="{FF2B5EF4-FFF2-40B4-BE49-F238E27FC236}">
                    <a16:creationId xmlns:a16="http://schemas.microsoft.com/office/drawing/2014/main" id="{56091341-1622-4A44-AEBC-2C1A6C5E96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9" name="Rectangle 38">
                <a:extLst>
                  <a:ext uri="{FF2B5EF4-FFF2-40B4-BE49-F238E27FC236}">
                    <a16:creationId xmlns:a16="http://schemas.microsoft.com/office/drawing/2014/main" id="{FDCA88BD-8A0B-4803-8BCD-DBCFE50665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0" name="Rectangle 39">
                <a:extLst>
                  <a:ext uri="{FF2B5EF4-FFF2-40B4-BE49-F238E27FC236}">
                    <a16:creationId xmlns:a16="http://schemas.microsoft.com/office/drawing/2014/main" id="{1752D24A-95D1-4BF5-942F-7403FFC979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1" name="Rectangle 40">
                <a:extLst>
                  <a:ext uri="{FF2B5EF4-FFF2-40B4-BE49-F238E27FC236}">
                    <a16:creationId xmlns:a16="http://schemas.microsoft.com/office/drawing/2014/main" id="{DDAD0B10-607F-4F76-B8E2-856CEFF459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2" name="Rectangle 41">
                <a:extLst>
                  <a:ext uri="{FF2B5EF4-FFF2-40B4-BE49-F238E27FC236}">
                    <a16:creationId xmlns:a16="http://schemas.microsoft.com/office/drawing/2014/main" id="{D86AE034-410A-4325-8973-EAF7C3B581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3" name="Rectangle 42">
                <a:extLst>
                  <a:ext uri="{FF2B5EF4-FFF2-40B4-BE49-F238E27FC236}">
                    <a16:creationId xmlns:a16="http://schemas.microsoft.com/office/drawing/2014/main" id="{420697CC-D29F-47F9-B11D-10251B5B9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4" name="Rectangle 43">
                <a:extLst>
                  <a:ext uri="{FF2B5EF4-FFF2-40B4-BE49-F238E27FC236}">
                    <a16:creationId xmlns:a16="http://schemas.microsoft.com/office/drawing/2014/main" id="{73620A14-7B53-4E94-B3B4-C239CA820B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5" name="Rectangle 44">
                <a:extLst>
                  <a:ext uri="{FF2B5EF4-FFF2-40B4-BE49-F238E27FC236}">
                    <a16:creationId xmlns:a16="http://schemas.microsoft.com/office/drawing/2014/main" id="{036C0721-D3AE-432E-B178-520AFE536C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4" name="Slide edges">
              <a:extLst>
                <a:ext uri="{FF2B5EF4-FFF2-40B4-BE49-F238E27FC236}">
                  <a16:creationId xmlns:a16="http://schemas.microsoft.com/office/drawing/2014/main" id="{00D602B6-43AC-4014-A447-2EE61049D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5" name="Footnote measure">
              <a:extLst>
                <a:ext uri="{FF2B5EF4-FFF2-40B4-BE49-F238E27FC236}">
                  <a16:creationId xmlns:a16="http://schemas.microsoft.com/office/drawing/2014/main" id="{2B634860-1500-42B7-B1D9-3DEC0117C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76" name="Whitespace measure">
              <a:extLst>
                <a:ext uri="{FF2B5EF4-FFF2-40B4-BE49-F238E27FC236}">
                  <a16:creationId xmlns:a16="http://schemas.microsoft.com/office/drawing/2014/main" id="{93F63E8E-37C1-4FB4-9789-977EBD9DF9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77" name="Five column measure">
              <a:extLst>
                <a:ext uri="{FF2B5EF4-FFF2-40B4-BE49-F238E27FC236}">
                  <a16:creationId xmlns:a16="http://schemas.microsoft.com/office/drawing/2014/main" id="{1AAD3B61-EA13-412D-A034-51AC471AC5AC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80" name="Rectangle 5">
                <a:extLst>
                  <a:ext uri="{FF2B5EF4-FFF2-40B4-BE49-F238E27FC236}">
                    <a16:creationId xmlns:a16="http://schemas.microsoft.com/office/drawing/2014/main" id="{5506CC4E-A9C4-438F-9A3F-96182A75E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1" name="Rectangle 7">
                <a:extLst>
                  <a:ext uri="{FF2B5EF4-FFF2-40B4-BE49-F238E27FC236}">
                    <a16:creationId xmlns:a16="http://schemas.microsoft.com/office/drawing/2014/main" id="{1F032728-5EDC-495D-8244-DE0BE42A5B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2" name="Rectangle 9">
                <a:extLst>
                  <a:ext uri="{FF2B5EF4-FFF2-40B4-BE49-F238E27FC236}">
                    <a16:creationId xmlns:a16="http://schemas.microsoft.com/office/drawing/2014/main" id="{2D75812C-FA03-4CBC-8BB2-F5CF950F07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3" name="Rectangle 11">
                <a:extLst>
                  <a:ext uri="{FF2B5EF4-FFF2-40B4-BE49-F238E27FC236}">
                    <a16:creationId xmlns:a16="http://schemas.microsoft.com/office/drawing/2014/main" id="{9FCE93D4-CE77-4D88-9735-6FCAC5F241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4" name="Rectangle 13">
                <a:extLst>
                  <a:ext uri="{FF2B5EF4-FFF2-40B4-BE49-F238E27FC236}">
                    <a16:creationId xmlns:a16="http://schemas.microsoft.com/office/drawing/2014/main" id="{EB18EFE9-FEC5-48E0-BA3E-10C3C75A80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8" name="Live area">
              <a:extLst>
                <a:ext uri="{FF2B5EF4-FFF2-40B4-BE49-F238E27FC236}">
                  <a16:creationId xmlns:a16="http://schemas.microsoft.com/office/drawing/2014/main" id="{E1464F76-1617-4CCA-8871-DB77ECCB8E8D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79" name="ee4pFootnotes">
              <a:extLst>
                <a:ext uri="{FF2B5EF4-FFF2-40B4-BE49-F238E27FC236}">
                  <a16:creationId xmlns:a16="http://schemas.microsoft.com/office/drawing/2014/main" id="{8483420E-9242-4947-B5F3-1922B03C5B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6667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7" y="4691188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8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200"/>
            <a:ext cx="3448800" cy="116260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144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671558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48225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1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2576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9787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5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2" y="3207716"/>
            <a:ext cx="1547143" cy="4221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3048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24585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7" y="4691188"/>
            <a:ext cx="929337" cy="995874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8"/>
            <a:ext cx="1570152" cy="1468176"/>
          </a:xfrm>
          <a:prstGeom prst="rect">
            <a:avLst/>
          </a:prstGeom>
          <a:noFill/>
          <a:ln w="9525" cmpd="sng">
            <a:solidFill>
              <a:srgbClr val="4472C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162606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144">
                <a:solidFill>
                  <a:srgbClr val="4472C4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0851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5002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8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36889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865658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1"/>
            <a:ext cx="9619200" cy="3200400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2402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rgbClr val="4472C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57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5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2" y="3262146"/>
            <a:ext cx="1161047" cy="3165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2286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90823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4472C4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2117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4963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82C103E6-56C0-4803-91FF-919D27F75820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DC84CFD-DDA8-40AC-B7BC-774D356E8F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5C5F7BC-6CB5-4CB3-84A5-E064690BD1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C3825231-F16B-47F4-BB89-AF2B79C488B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3" y="5570643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28D422-7258-4118-BAB2-F0AF6381E74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C9A652C-DEE4-4F9F-8889-3FABCF7248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2387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98111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48573"/>
          </a:xfrm>
        </p:spPr>
        <p:txBody>
          <a:bodyPr/>
          <a:lstStyle>
            <a:lvl1pPr>
              <a:defRPr sz="3239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1" y="2085629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52763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2183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4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344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3052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EA6397-64BE-4BDC-9F8D-443E508B8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32BAAB-BF54-49D9-A49B-D7679F47AD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95DF38-0F14-466B-9C59-BA2BCB441E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6A254C-E858-44DB-B2F3-40B88D90BF8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9CE4D9-DAC2-4A55-BDB7-C0432C69581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6CA5072-CD3C-4003-9D20-090280E31A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Investors' Meet | Houston | Sept. 2022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2EF42EF-6CF3-4FE1-AFB9-5433913475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114FE0E-C8A2-42A1-B2E0-B42600711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C68A2-2EC2-4D38-8FDE-9772B4695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2735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9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4" y="622805"/>
            <a:ext cx="6276529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05418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86037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5496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5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2852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75019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19567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9427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 baseline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077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048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71785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52850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7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9475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90478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9344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54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8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5"/>
            <a:ext cx="8101584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80555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73601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3815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14492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620989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896118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516721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610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</p:spPr>
        <p:txBody>
          <a:bodyPr/>
          <a:lstStyle>
            <a:lvl1pPr>
              <a:defRPr sz="323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00244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03681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56931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77929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8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7" y="-1305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7192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019873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B9A61024-EF5F-4D4F-8BEF-C9DBCF564F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0929A6-AA90-4BE3-A794-0C9DA8110263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157682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79B06C1F-BB85-4DD7-B99A-DE6BE2F699C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3" name="No fly zone">
              <a:extLst>
                <a:ext uri="{FF2B5EF4-FFF2-40B4-BE49-F238E27FC236}">
                  <a16:creationId xmlns:a16="http://schemas.microsoft.com/office/drawing/2014/main" id="{5BE0206C-E9B7-44A8-B943-39660205FFA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6337A840-7DC0-44AB-B1D6-EEA32C8B4FFF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02CE8B9F-CF74-486E-8634-47F3455D7F2D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FB3B3C51-92CF-4CD7-9E57-C4206779197F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E36E2FB8-DA38-4FE0-8765-211B76ECEFA6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4F497A31-60DA-449B-9477-F9EFB4F4C7C5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B1EDE6F6-F4BD-40E6-ADCB-BCF1358D3F17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5FE8841-2C54-47C8-B29A-6E562E40547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40F52F3-8235-418B-8A74-6FE060B1D171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4CED132E-8CB2-465D-BA02-5D07BC58FF6C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141DBDBF-5CF1-464A-8209-EEC64DE672DA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8C2A0870-87CA-4483-B1C8-3E52F3294870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E199BE98-9C1A-4188-9C5A-B4EE7733452F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F4D550D7-72C3-4DF6-9EE5-EFD724B89527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42FEA2-0098-4367-BA36-5DFF52FE0EA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A56E5925-2BB3-4C0F-B709-714DA8FF1B55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DDE3DD4A-5257-4C0B-9CC5-00D2F632BDF6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05663B1F-B5C3-4E8C-8420-3D1B2EE18F90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D2BCC30-7703-4A29-8729-0D826001A675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689E7287-E05F-4EBF-840B-40D19EE0571F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AAB3F59B-6834-4139-9D02-58D5CCDFE130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4" name="Gutter space">
              <a:extLst>
                <a:ext uri="{FF2B5EF4-FFF2-40B4-BE49-F238E27FC236}">
                  <a16:creationId xmlns:a16="http://schemas.microsoft.com/office/drawing/2014/main" id="{8FD8D4DB-AB91-454E-B1BA-BB0E90D6E750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26" name="Rectangle 34">
                <a:extLst>
                  <a:ext uri="{FF2B5EF4-FFF2-40B4-BE49-F238E27FC236}">
                    <a16:creationId xmlns:a16="http://schemas.microsoft.com/office/drawing/2014/main" id="{CC2A1031-8BB8-42DB-A99C-D58B835307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7" name="Rectangle 35">
                <a:extLst>
                  <a:ext uri="{FF2B5EF4-FFF2-40B4-BE49-F238E27FC236}">
                    <a16:creationId xmlns:a16="http://schemas.microsoft.com/office/drawing/2014/main" id="{91BF26E8-7A30-48EF-8F02-663BFEE98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8" name="Rectangle 36">
                <a:extLst>
                  <a:ext uri="{FF2B5EF4-FFF2-40B4-BE49-F238E27FC236}">
                    <a16:creationId xmlns:a16="http://schemas.microsoft.com/office/drawing/2014/main" id="{C2A80C6B-A60A-478C-95C0-01EF0BAF7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9" name="Rectangle 37">
                <a:extLst>
                  <a:ext uri="{FF2B5EF4-FFF2-40B4-BE49-F238E27FC236}">
                    <a16:creationId xmlns:a16="http://schemas.microsoft.com/office/drawing/2014/main" id="{F69D71B4-E7BF-4198-8F31-BC36AF934C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0" name="Rectangle 38">
                <a:extLst>
                  <a:ext uri="{FF2B5EF4-FFF2-40B4-BE49-F238E27FC236}">
                    <a16:creationId xmlns:a16="http://schemas.microsoft.com/office/drawing/2014/main" id="{61C51D5A-AABF-4FE9-A7B4-B957834B16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1" name="Rectangle 39">
                <a:extLst>
                  <a:ext uri="{FF2B5EF4-FFF2-40B4-BE49-F238E27FC236}">
                    <a16:creationId xmlns:a16="http://schemas.microsoft.com/office/drawing/2014/main" id="{980D98DE-5C59-4489-888E-0E53D8EBBD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2" name="Rectangle 40">
                <a:extLst>
                  <a:ext uri="{FF2B5EF4-FFF2-40B4-BE49-F238E27FC236}">
                    <a16:creationId xmlns:a16="http://schemas.microsoft.com/office/drawing/2014/main" id="{0FEBCA4B-01F4-4022-A743-78551281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3" name="Rectangle 41">
                <a:extLst>
                  <a:ext uri="{FF2B5EF4-FFF2-40B4-BE49-F238E27FC236}">
                    <a16:creationId xmlns:a16="http://schemas.microsoft.com/office/drawing/2014/main" id="{C6C94FE9-ACF6-466B-8BFC-90AF10F8D8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8" name="Rectangle 42">
                <a:extLst>
                  <a:ext uri="{FF2B5EF4-FFF2-40B4-BE49-F238E27FC236}">
                    <a16:creationId xmlns:a16="http://schemas.microsoft.com/office/drawing/2014/main" id="{8FD84607-9D05-4CFF-85C0-30A674044D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9" name="Rectangle 43">
                <a:extLst>
                  <a:ext uri="{FF2B5EF4-FFF2-40B4-BE49-F238E27FC236}">
                    <a16:creationId xmlns:a16="http://schemas.microsoft.com/office/drawing/2014/main" id="{314CFB9D-AA18-4CF0-B56F-39FCAEBC5F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40" name="Rectangle 44">
                <a:extLst>
                  <a:ext uri="{FF2B5EF4-FFF2-40B4-BE49-F238E27FC236}">
                    <a16:creationId xmlns:a16="http://schemas.microsoft.com/office/drawing/2014/main" id="{19F2F422-5791-46D9-B4EF-7A6B3FEEB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5" name="Slide edges">
              <a:extLst>
                <a:ext uri="{FF2B5EF4-FFF2-40B4-BE49-F238E27FC236}">
                  <a16:creationId xmlns:a16="http://schemas.microsoft.com/office/drawing/2014/main" id="{91A96CCE-1E1D-495D-B295-5DB0B79E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6" name="Footnote measure">
              <a:extLst>
                <a:ext uri="{FF2B5EF4-FFF2-40B4-BE49-F238E27FC236}">
                  <a16:creationId xmlns:a16="http://schemas.microsoft.com/office/drawing/2014/main" id="{082346B9-B2AB-4A25-BFF2-93A06510D7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117" name="Whitespace measure">
              <a:extLst>
                <a:ext uri="{FF2B5EF4-FFF2-40B4-BE49-F238E27FC236}">
                  <a16:creationId xmlns:a16="http://schemas.microsoft.com/office/drawing/2014/main" id="{8A89F410-D3E7-48FC-BC17-C16B289BD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118" name="Five column measure">
              <a:extLst>
                <a:ext uri="{FF2B5EF4-FFF2-40B4-BE49-F238E27FC236}">
                  <a16:creationId xmlns:a16="http://schemas.microsoft.com/office/drawing/2014/main" id="{AF0A0B4D-52AE-451B-BF63-A30764B88FC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21" name="Rectangle 5">
                <a:extLst>
                  <a:ext uri="{FF2B5EF4-FFF2-40B4-BE49-F238E27FC236}">
                    <a16:creationId xmlns:a16="http://schemas.microsoft.com/office/drawing/2014/main" id="{E4633997-92FB-4F33-ACEC-BACB0E100A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2" name="Rectangle 7">
                <a:extLst>
                  <a:ext uri="{FF2B5EF4-FFF2-40B4-BE49-F238E27FC236}">
                    <a16:creationId xmlns:a16="http://schemas.microsoft.com/office/drawing/2014/main" id="{1605E953-67F6-4A2E-9BA4-F92A05B0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3" name="Rectangle 9">
                <a:extLst>
                  <a:ext uri="{FF2B5EF4-FFF2-40B4-BE49-F238E27FC236}">
                    <a16:creationId xmlns:a16="http://schemas.microsoft.com/office/drawing/2014/main" id="{F634DDE8-781F-457F-97FB-43C53E5E84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4" name="Rectangle 11">
                <a:extLst>
                  <a:ext uri="{FF2B5EF4-FFF2-40B4-BE49-F238E27FC236}">
                    <a16:creationId xmlns:a16="http://schemas.microsoft.com/office/drawing/2014/main" id="{46C9C76A-4338-4B38-B390-FB55CDB05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5" name="Rectangle 13">
                <a:extLst>
                  <a:ext uri="{FF2B5EF4-FFF2-40B4-BE49-F238E27FC236}">
                    <a16:creationId xmlns:a16="http://schemas.microsoft.com/office/drawing/2014/main" id="{B256419B-BD9C-41DA-89E6-40B93C0B1A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9" name="Live area">
              <a:extLst>
                <a:ext uri="{FF2B5EF4-FFF2-40B4-BE49-F238E27FC236}">
                  <a16:creationId xmlns:a16="http://schemas.microsoft.com/office/drawing/2014/main" id="{4E8E0BA1-EDEF-43F8-B210-C8091C804194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120" name="ee4pFootnotes">
              <a:extLst>
                <a:ext uri="{FF2B5EF4-FFF2-40B4-BE49-F238E27FC236}">
                  <a16:creationId xmlns:a16="http://schemas.microsoft.com/office/drawing/2014/main" id="{97DE969B-57F2-4041-BB48-E2DE763F4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604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1798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982FCF9-715C-428B-BF36-7A5FDD25DD11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AA51026-CFD8-4A3F-8CE3-E57CC80008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10EB070-E5FD-4DDE-AC6D-8D220B43C2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A19FD62A-4798-4917-A473-5F81A636E03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3" y="5570643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1CAD31A-51CF-4015-A4CF-439ED367950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B13BA057-D0D7-4048-A5E9-90EDED33BE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AA7AA96B-70E0-48A7-BF25-15A32D03D7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56417A15-B32C-4CA2-AAE3-DBFD5511B0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1774817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350" cy="316640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65022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535">
          <p15:clr>
            <a:srgbClr val="FBAE40"/>
          </p15:clr>
        </p15:guide>
      </p15:sldGuideLst>
    </p:ext>
  </p:extLs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5269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2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defRPr>
            </a:lvl1pPr>
            <a:lvl2pPr marL="435529" indent="0" algn="ctr">
              <a:buNone/>
              <a:defRPr sz="1905"/>
            </a:lvl2pPr>
            <a:lvl3pPr marL="871057" indent="0" algn="ctr">
              <a:buNone/>
              <a:defRPr sz="1715"/>
            </a:lvl3pPr>
            <a:lvl4pPr marL="1306586" indent="0" algn="ctr">
              <a:buNone/>
              <a:defRPr sz="1524"/>
            </a:lvl4pPr>
            <a:lvl5pPr marL="1742115" indent="0" algn="ctr">
              <a:buNone/>
              <a:defRPr sz="1524"/>
            </a:lvl5pPr>
            <a:lvl6pPr marL="2177644" indent="0" algn="ctr">
              <a:buNone/>
              <a:defRPr sz="1524"/>
            </a:lvl6pPr>
            <a:lvl7pPr marL="2613172" indent="0" algn="ctr">
              <a:buNone/>
              <a:defRPr sz="1524"/>
            </a:lvl7pPr>
            <a:lvl8pPr marL="3048701" indent="0" algn="ctr">
              <a:buNone/>
              <a:defRPr sz="1524"/>
            </a:lvl8pPr>
            <a:lvl9pPr marL="3484230" indent="0" algn="ctr">
              <a:buNone/>
              <a:defRPr sz="1524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9"/>
            <a:ext cx="3744000" cy="664797"/>
          </a:xfrm>
        </p:spPr>
        <p:txBody>
          <a:bodyPr anchor="t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11855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6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4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264796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2"/>
            <a:ext cx="951721" cy="951721"/>
          </a:xfrm>
          <a:prstGeom prst="rect">
            <a:avLst/>
          </a:prstGeom>
          <a:noFill/>
          <a:ln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579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127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40905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1"/>
            <a:ext cx="6276529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67824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90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9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97930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8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8101584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3978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5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597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4535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501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26117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1098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97005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7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6073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56251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2808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16847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51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33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925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4466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8995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0754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598299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50399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3753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200" cy="31664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53513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7611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8367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39376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8395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8300726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0971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4704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A391E1D-6927-4B36-986D-E693D888F8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F46813C-089B-42DD-93EF-4FAD03D8F41D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3986339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186EDF6-F493-451E-A790-F103405D687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E043909A-6757-45F3-BA9E-CD764990903A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F872CE8F-3F0B-4F10-9C46-F1971232C540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424B456A-ACDB-452F-A82C-A447A8022FC5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10EC6263-C735-435C-B5FB-A1A090D82696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BCFC957E-A1AA-4488-B4F7-E42719D90083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860ED8C1-914B-4FE2-B202-3EADDA88671B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D2D67AD1-78E4-4ACD-A2B4-E755EE0BC3EE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A2614495-B0AA-4BFB-AAFC-C277AB1903E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B31AC91-26B0-46CE-A559-6170B43B5436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4F3AC0CE-CAD1-4292-BAD3-251D546DBC98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EA7F5A4-1850-4AC2-9D22-F35FD755199B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EF02D1C-4F7D-42B1-949D-F6F32794F0CD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D7010C52-AD41-4AC8-BDDD-DDA0DAC1313A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A87E638F-7416-47FB-BC05-73E41DA33B52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05BD109-9013-4BAA-A2E0-E0D14BD8A6D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CB3C821B-BE4C-4939-90A7-7C674C6CC188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286A8CF5-F350-482E-A284-B52BD7223372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B06DE91-73BB-4FE0-B581-AC7421221637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5FDFD0DD-D795-4666-A1B7-830D6E1999DF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122FBAC-3E0E-4642-9209-057F14DBD9CA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328CBA-E718-4667-9ACD-A752E3933D74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3" name="Gutter space">
              <a:extLst>
                <a:ext uri="{FF2B5EF4-FFF2-40B4-BE49-F238E27FC236}">
                  <a16:creationId xmlns:a16="http://schemas.microsoft.com/office/drawing/2014/main" id="{376D823D-D34D-49F5-BE43-29837D19CF43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85" name="Rectangle 34">
                <a:extLst>
                  <a:ext uri="{FF2B5EF4-FFF2-40B4-BE49-F238E27FC236}">
                    <a16:creationId xmlns:a16="http://schemas.microsoft.com/office/drawing/2014/main" id="{F6FEF8DA-E406-4A77-BB5C-66785DE7D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6" name="Rectangle 35">
                <a:extLst>
                  <a:ext uri="{FF2B5EF4-FFF2-40B4-BE49-F238E27FC236}">
                    <a16:creationId xmlns:a16="http://schemas.microsoft.com/office/drawing/2014/main" id="{98BCAF4F-96B6-4583-ABA1-EA7180BC76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7" name="Rectangle 36">
                <a:extLst>
                  <a:ext uri="{FF2B5EF4-FFF2-40B4-BE49-F238E27FC236}">
                    <a16:creationId xmlns:a16="http://schemas.microsoft.com/office/drawing/2014/main" id="{63B3871A-9CEC-48D0-A7CD-4EB61563E0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8" name="Rectangle 37">
                <a:extLst>
                  <a:ext uri="{FF2B5EF4-FFF2-40B4-BE49-F238E27FC236}">
                    <a16:creationId xmlns:a16="http://schemas.microsoft.com/office/drawing/2014/main" id="{56091341-1622-4A44-AEBC-2C1A6C5E96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9" name="Rectangle 38">
                <a:extLst>
                  <a:ext uri="{FF2B5EF4-FFF2-40B4-BE49-F238E27FC236}">
                    <a16:creationId xmlns:a16="http://schemas.microsoft.com/office/drawing/2014/main" id="{FDCA88BD-8A0B-4803-8BCD-DBCFE50665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0" name="Rectangle 39">
                <a:extLst>
                  <a:ext uri="{FF2B5EF4-FFF2-40B4-BE49-F238E27FC236}">
                    <a16:creationId xmlns:a16="http://schemas.microsoft.com/office/drawing/2014/main" id="{1752D24A-95D1-4BF5-942F-7403FFC979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1" name="Rectangle 40">
                <a:extLst>
                  <a:ext uri="{FF2B5EF4-FFF2-40B4-BE49-F238E27FC236}">
                    <a16:creationId xmlns:a16="http://schemas.microsoft.com/office/drawing/2014/main" id="{DDAD0B10-607F-4F76-B8E2-856CEFF459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2" name="Rectangle 41">
                <a:extLst>
                  <a:ext uri="{FF2B5EF4-FFF2-40B4-BE49-F238E27FC236}">
                    <a16:creationId xmlns:a16="http://schemas.microsoft.com/office/drawing/2014/main" id="{D86AE034-410A-4325-8973-EAF7C3B581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3" name="Rectangle 42">
                <a:extLst>
                  <a:ext uri="{FF2B5EF4-FFF2-40B4-BE49-F238E27FC236}">
                    <a16:creationId xmlns:a16="http://schemas.microsoft.com/office/drawing/2014/main" id="{420697CC-D29F-47F9-B11D-10251B5B9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4" name="Rectangle 43">
                <a:extLst>
                  <a:ext uri="{FF2B5EF4-FFF2-40B4-BE49-F238E27FC236}">
                    <a16:creationId xmlns:a16="http://schemas.microsoft.com/office/drawing/2014/main" id="{73620A14-7B53-4E94-B3B4-C239CA820B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5" name="Rectangle 44">
                <a:extLst>
                  <a:ext uri="{FF2B5EF4-FFF2-40B4-BE49-F238E27FC236}">
                    <a16:creationId xmlns:a16="http://schemas.microsoft.com/office/drawing/2014/main" id="{036C0721-D3AE-432E-B178-520AFE536C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4" name="Slide edges">
              <a:extLst>
                <a:ext uri="{FF2B5EF4-FFF2-40B4-BE49-F238E27FC236}">
                  <a16:creationId xmlns:a16="http://schemas.microsoft.com/office/drawing/2014/main" id="{00D602B6-43AC-4014-A447-2EE61049D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5" name="Footnote measure">
              <a:extLst>
                <a:ext uri="{FF2B5EF4-FFF2-40B4-BE49-F238E27FC236}">
                  <a16:creationId xmlns:a16="http://schemas.microsoft.com/office/drawing/2014/main" id="{2B634860-1500-42B7-B1D9-3DEC0117C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76" name="Whitespace measure">
              <a:extLst>
                <a:ext uri="{FF2B5EF4-FFF2-40B4-BE49-F238E27FC236}">
                  <a16:creationId xmlns:a16="http://schemas.microsoft.com/office/drawing/2014/main" id="{93F63E8E-37C1-4FB4-9789-977EBD9DF9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77" name="Five column measure">
              <a:extLst>
                <a:ext uri="{FF2B5EF4-FFF2-40B4-BE49-F238E27FC236}">
                  <a16:creationId xmlns:a16="http://schemas.microsoft.com/office/drawing/2014/main" id="{1AAD3B61-EA13-412D-A034-51AC471AC5AC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80" name="Rectangle 5">
                <a:extLst>
                  <a:ext uri="{FF2B5EF4-FFF2-40B4-BE49-F238E27FC236}">
                    <a16:creationId xmlns:a16="http://schemas.microsoft.com/office/drawing/2014/main" id="{5506CC4E-A9C4-438F-9A3F-96182A75E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1" name="Rectangle 7">
                <a:extLst>
                  <a:ext uri="{FF2B5EF4-FFF2-40B4-BE49-F238E27FC236}">
                    <a16:creationId xmlns:a16="http://schemas.microsoft.com/office/drawing/2014/main" id="{1F032728-5EDC-495D-8244-DE0BE42A5B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2" name="Rectangle 9">
                <a:extLst>
                  <a:ext uri="{FF2B5EF4-FFF2-40B4-BE49-F238E27FC236}">
                    <a16:creationId xmlns:a16="http://schemas.microsoft.com/office/drawing/2014/main" id="{2D75812C-FA03-4CBC-8BB2-F5CF950F07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3" name="Rectangle 11">
                <a:extLst>
                  <a:ext uri="{FF2B5EF4-FFF2-40B4-BE49-F238E27FC236}">
                    <a16:creationId xmlns:a16="http://schemas.microsoft.com/office/drawing/2014/main" id="{9FCE93D4-CE77-4D88-9735-6FCAC5F241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4" name="Rectangle 13">
                <a:extLst>
                  <a:ext uri="{FF2B5EF4-FFF2-40B4-BE49-F238E27FC236}">
                    <a16:creationId xmlns:a16="http://schemas.microsoft.com/office/drawing/2014/main" id="{EB18EFE9-FEC5-48E0-BA3E-10C3C75A80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8" name="Live area">
              <a:extLst>
                <a:ext uri="{FF2B5EF4-FFF2-40B4-BE49-F238E27FC236}">
                  <a16:creationId xmlns:a16="http://schemas.microsoft.com/office/drawing/2014/main" id="{E1464F76-1617-4CCA-8871-DB77ECCB8E8D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79" name="ee4pFootnotes">
              <a:extLst>
                <a:ext uri="{FF2B5EF4-FFF2-40B4-BE49-F238E27FC236}">
                  <a16:creationId xmlns:a16="http://schemas.microsoft.com/office/drawing/2014/main" id="{8483420E-9242-4947-B5F3-1922B03C5B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41214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7" y="4691188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8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200"/>
            <a:ext cx="3448800" cy="116260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144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60527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55129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1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57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92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5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2" y="3207716"/>
            <a:ext cx="1547143" cy="4221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3048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06943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7" y="4691188"/>
            <a:ext cx="929337" cy="995874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8"/>
            <a:ext cx="1570152" cy="1468176"/>
          </a:xfrm>
          <a:prstGeom prst="rect">
            <a:avLst/>
          </a:prstGeom>
          <a:noFill/>
          <a:ln w="9525" cmpd="sng">
            <a:solidFill>
              <a:srgbClr val="4472C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162606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144">
                <a:solidFill>
                  <a:srgbClr val="4472C4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4533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066020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1"/>
            <a:ext cx="9619200" cy="3200400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2444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rgbClr val="4472C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15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5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2" y="3262146"/>
            <a:ext cx="1161047" cy="3165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2286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31072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32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4770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4472C4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2909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310" y="268131"/>
            <a:ext cx="11933381" cy="316640"/>
          </a:xfrm>
        </p:spPr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207102"/>
            <a:ext cx="1482051" cy="351822"/>
          </a:xfrm>
        </p:spPr>
        <p:txBody>
          <a:bodyPr/>
          <a:lstStyle>
            <a:lvl1pPr>
              <a:defRPr sz="1143"/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43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334"/>
            </a:lvl1pPr>
          </a:lstStyle>
          <a:p>
            <a:fld id="{629637A9-119A-49DA-BD12-AAC58B377D80}" type="slidenum">
              <a:rPr lang="en-US" smtClean="0"/>
              <a:pPr/>
              <a:t>‹#›</a:t>
            </a:fld>
            <a:endParaRPr lang="en-US" sz="1334"/>
          </a:p>
        </p:txBody>
      </p:sp>
    </p:spTree>
    <p:extLst>
      <p:ext uri="{BB962C8B-B14F-4D97-AF65-F5344CB8AC3E}">
        <p14:creationId xmlns:p14="http://schemas.microsoft.com/office/powerpoint/2010/main" val="2287581700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25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82C103E6-56C0-4803-91FF-919D27F75820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DC84CFD-DDA8-40AC-B7BC-774D356E8F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5C5F7BC-6CB5-4CB3-84A5-E064690BD1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C3825231-F16B-47F4-BB89-AF2B79C488B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3" y="5570643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28D422-7258-4118-BAB2-F0AF6381E74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C9A652C-DEE4-4F9F-8889-3FABCF7248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630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6304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48573"/>
          </a:xfrm>
        </p:spPr>
        <p:txBody>
          <a:bodyPr/>
          <a:lstStyle>
            <a:lvl1pPr>
              <a:defRPr sz="3239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1" y="2085629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70407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33288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4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8331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21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46395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6476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8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33" y="3394396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6735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5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4511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19761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19567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8638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 baseline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7726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048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7483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35221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7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8043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71838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560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1686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7272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8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98604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3431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49777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188903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2791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9518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</p:spPr>
        <p:txBody>
          <a:bodyPr/>
          <a:lstStyle>
            <a:lvl1pPr>
              <a:defRPr sz="323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38529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00098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0448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38274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722408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B9A61024-EF5F-4D4F-8BEF-C9DBCF564F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0929A6-AA90-4BE3-A794-0C9DA8110263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1405627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79B06C1F-BB85-4DD7-B99A-DE6BE2F699C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3" name="No fly zone">
              <a:extLst>
                <a:ext uri="{FF2B5EF4-FFF2-40B4-BE49-F238E27FC236}">
                  <a16:creationId xmlns:a16="http://schemas.microsoft.com/office/drawing/2014/main" id="{5BE0206C-E9B7-44A8-B943-39660205FFA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6337A840-7DC0-44AB-B1D6-EEA32C8B4FFF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02CE8B9F-CF74-486E-8634-47F3455D7F2D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FB3B3C51-92CF-4CD7-9E57-C4206779197F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E36E2FB8-DA38-4FE0-8765-211B76ECEFA6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4F497A31-60DA-449B-9477-F9EFB4F4C7C5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B1EDE6F6-F4BD-40E6-ADCB-BCF1358D3F17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5FE8841-2C54-47C8-B29A-6E562E40547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40F52F3-8235-418B-8A74-6FE060B1D171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4CED132E-8CB2-465D-BA02-5D07BC58FF6C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141DBDBF-5CF1-464A-8209-EEC64DE672DA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8C2A0870-87CA-4483-B1C8-3E52F3294870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E199BE98-9C1A-4188-9C5A-B4EE7733452F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F4D550D7-72C3-4DF6-9EE5-EFD724B89527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42FEA2-0098-4367-BA36-5DFF52FE0EA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A56E5925-2BB3-4C0F-B709-714DA8FF1B55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DDE3DD4A-5257-4C0B-9CC5-00D2F632BDF6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05663B1F-B5C3-4E8C-8420-3D1B2EE18F90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D2BCC30-7703-4A29-8729-0D826001A675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689E7287-E05F-4EBF-840B-40D19EE0571F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AAB3F59B-6834-4139-9D02-58D5CCDFE130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4" name="Gutter space">
              <a:extLst>
                <a:ext uri="{FF2B5EF4-FFF2-40B4-BE49-F238E27FC236}">
                  <a16:creationId xmlns:a16="http://schemas.microsoft.com/office/drawing/2014/main" id="{8FD8D4DB-AB91-454E-B1BA-BB0E90D6E750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26" name="Rectangle 34">
                <a:extLst>
                  <a:ext uri="{FF2B5EF4-FFF2-40B4-BE49-F238E27FC236}">
                    <a16:creationId xmlns:a16="http://schemas.microsoft.com/office/drawing/2014/main" id="{CC2A1031-8BB8-42DB-A99C-D58B835307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7" name="Rectangle 35">
                <a:extLst>
                  <a:ext uri="{FF2B5EF4-FFF2-40B4-BE49-F238E27FC236}">
                    <a16:creationId xmlns:a16="http://schemas.microsoft.com/office/drawing/2014/main" id="{91BF26E8-7A30-48EF-8F02-663BFEE98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8" name="Rectangle 36">
                <a:extLst>
                  <a:ext uri="{FF2B5EF4-FFF2-40B4-BE49-F238E27FC236}">
                    <a16:creationId xmlns:a16="http://schemas.microsoft.com/office/drawing/2014/main" id="{C2A80C6B-A60A-478C-95C0-01EF0BAF79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9" name="Rectangle 37">
                <a:extLst>
                  <a:ext uri="{FF2B5EF4-FFF2-40B4-BE49-F238E27FC236}">
                    <a16:creationId xmlns:a16="http://schemas.microsoft.com/office/drawing/2014/main" id="{F69D71B4-E7BF-4198-8F31-BC36AF934C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0" name="Rectangle 38">
                <a:extLst>
                  <a:ext uri="{FF2B5EF4-FFF2-40B4-BE49-F238E27FC236}">
                    <a16:creationId xmlns:a16="http://schemas.microsoft.com/office/drawing/2014/main" id="{61C51D5A-AABF-4FE9-A7B4-B957834B16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1" name="Rectangle 39">
                <a:extLst>
                  <a:ext uri="{FF2B5EF4-FFF2-40B4-BE49-F238E27FC236}">
                    <a16:creationId xmlns:a16="http://schemas.microsoft.com/office/drawing/2014/main" id="{980D98DE-5C59-4489-888E-0E53D8EBBD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2" name="Rectangle 40">
                <a:extLst>
                  <a:ext uri="{FF2B5EF4-FFF2-40B4-BE49-F238E27FC236}">
                    <a16:creationId xmlns:a16="http://schemas.microsoft.com/office/drawing/2014/main" id="{0FEBCA4B-01F4-4022-A743-785512810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3" name="Rectangle 41">
                <a:extLst>
                  <a:ext uri="{FF2B5EF4-FFF2-40B4-BE49-F238E27FC236}">
                    <a16:creationId xmlns:a16="http://schemas.microsoft.com/office/drawing/2014/main" id="{C6C94FE9-ACF6-466B-8BFC-90AF10F8D8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8" name="Rectangle 42">
                <a:extLst>
                  <a:ext uri="{FF2B5EF4-FFF2-40B4-BE49-F238E27FC236}">
                    <a16:creationId xmlns:a16="http://schemas.microsoft.com/office/drawing/2014/main" id="{8FD84607-9D05-4CFF-85C0-30A674044D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39" name="Rectangle 43">
                <a:extLst>
                  <a:ext uri="{FF2B5EF4-FFF2-40B4-BE49-F238E27FC236}">
                    <a16:creationId xmlns:a16="http://schemas.microsoft.com/office/drawing/2014/main" id="{314CFB9D-AA18-4CF0-B56F-39FCAEBC5F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40" name="Rectangle 44">
                <a:extLst>
                  <a:ext uri="{FF2B5EF4-FFF2-40B4-BE49-F238E27FC236}">
                    <a16:creationId xmlns:a16="http://schemas.microsoft.com/office/drawing/2014/main" id="{19F2F422-5791-46D9-B4EF-7A6B3FEEB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5" name="Slide edges">
              <a:extLst>
                <a:ext uri="{FF2B5EF4-FFF2-40B4-BE49-F238E27FC236}">
                  <a16:creationId xmlns:a16="http://schemas.microsoft.com/office/drawing/2014/main" id="{91A96CCE-1E1D-495D-B295-5DB0B79E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6" name="Footnote measure">
              <a:extLst>
                <a:ext uri="{FF2B5EF4-FFF2-40B4-BE49-F238E27FC236}">
                  <a16:creationId xmlns:a16="http://schemas.microsoft.com/office/drawing/2014/main" id="{082346B9-B2AB-4A25-BFF2-93A06510D7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117" name="Whitespace measure">
              <a:extLst>
                <a:ext uri="{FF2B5EF4-FFF2-40B4-BE49-F238E27FC236}">
                  <a16:creationId xmlns:a16="http://schemas.microsoft.com/office/drawing/2014/main" id="{8A89F410-D3E7-48FC-BC17-C16B289BD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118" name="Five column measure">
              <a:extLst>
                <a:ext uri="{FF2B5EF4-FFF2-40B4-BE49-F238E27FC236}">
                  <a16:creationId xmlns:a16="http://schemas.microsoft.com/office/drawing/2014/main" id="{AF0A0B4D-52AE-451B-BF63-A30764B88FC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21" name="Rectangle 5">
                <a:extLst>
                  <a:ext uri="{FF2B5EF4-FFF2-40B4-BE49-F238E27FC236}">
                    <a16:creationId xmlns:a16="http://schemas.microsoft.com/office/drawing/2014/main" id="{E4633997-92FB-4F33-ACEC-BACB0E100A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2" name="Rectangle 7">
                <a:extLst>
                  <a:ext uri="{FF2B5EF4-FFF2-40B4-BE49-F238E27FC236}">
                    <a16:creationId xmlns:a16="http://schemas.microsoft.com/office/drawing/2014/main" id="{1605E953-67F6-4A2E-9BA4-F92A05B0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3" name="Rectangle 9">
                <a:extLst>
                  <a:ext uri="{FF2B5EF4-FFF2-40B4-BE49-F238E27FC236}">
                    <a16:creationId xmlns:a16="http://schemas.microsoft.com/office/drawing/2014/main" id="{F634DDE8-781F-457F-97FB-43C53E5E84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4" name="Rectangle 11">
                <a:extLst>
                  <a:ext uri="{FF2B5EF4-FFF2-40B4-BE49-F238E27FC236}">
                    <a16:creationId xmlns:a16="http://schemas.microsoft.com/office/drawing/2014/main" id="{46C9C76A-4338-4B38-B390-FB55CDB05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125" name="Rectangle 13">
                <a:extLst>
                  <a:ext uri="{FF2B5EF4-FFF2-40B4-BE49-F238E27FC236}">
                    <a16:creationId xmlns:a16="http://schemas.microsoft.com/office/drawing/2014/main" id="{B256419B-BD9C-41DA-89E6-40B93C0B1A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119" name="Live area">
              <a:extLst>
                <a:ext uri="{FF2B5EF4-FFF2-40B4-BE49-F238E27FC236}">
                  <a16:creationId xmlns:a16="http://schemas.microsoft.com/office/drawing/2014/main" id="{4E8E0BA1-EDEF-43F8-B210-C8091C804194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120" name="ee4pFootnotes">
              <a:extLst>
                <a:ext uri="{FF2B5EF4-FFF2-40B4-BE49-F238E27FC236}">
                  <a16:creationId xmlns:a16="http://schemas.microsoft.com/office/drawing/2014/main" id="{97DE969B-57F2-4041-BB48-E2DE763F4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8849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5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8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10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147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7296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982FCF9-715C-428B-BF36-7A5FDD25DD11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AA51026-CFD8-4A3F-8CE3-E57CC80008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10EB070-E5FD-4DDE-AC6D-8D220B43C2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A19FD62A-4798-4917-A473-5F81A636E03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3" y="5570643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1CAD31A-51CF-4015-A4CF-439ED367950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B13BA057-D0D7-4048-A5E9-90EDED33BE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AA7AA96B-70E0-48A7-BF25-15A32D03D7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56417A15-B32C-4CA2-AAE3-DBFD5511B0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266912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350" cy="316640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12267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535">
          <p15:clr>
            <a:srgbClr val="FBAE40"/>
          </p15:clr>
        </p15:guide>
      </p15:sldGuideLst>
    </p:ext>
  </p:extLst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96111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2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defRPr>
            </a:lvl1pPr>
            <a:lvl2pPr marL="435529" indent="0" algn="ctr">
              <a:buNone/>
              <a:defRPr sz="1905"/>
            </a:lvl2pPr>
            <a:lvl3pPr marL="871057" indent="0" algn="ctr">
              <a:buNone/>
              <a:defRPr sz="1715"/>
            </a:lvl3pPr>
            <a:lvl4pPr marL="1306586" indent="0" algn="ctr">
              <a:buNone/>
              <a:defRPr sz="1524"/>
            </a:lvl4pPr>
            <a:lvl5pPr marL="1742115" indent="0" algn="ctr">
              <a:buNone/>
              <a:defRPr sz="1524"/>
            </a:lvl5pPr>
            <a:lvl6pPr marL="2177644" indent="0" algn="ctr">
              <a:buNone/>
              <a:defRPr sz="1524"/>
            </a:lvl6pPr>
            <a:lvl7pPr marL="2613172" indent="0" algn="ctr">
              <a:buNone/>
              <a:defRPr sz="1524"/>
            </a:lvl7pPr>
            <a:lvl8pPr marL="3048701" indent="0" algn="ctr">
              <a:buNone/>
              <a:defRPr sz="1524"/>
            </a:lvl8pPr>
            <a:lvl9pPr marL="3484230" indent="0" algn="ctr">
              <a:buNone/>
              <a:defRPr sz="1524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9"/>
            <a:ext cx="3744000" cy="664797"/>
          </a:xfrm>
        </p:spPr>
        <p:txBody>
          <a:bodyPr anchor="t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96349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6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4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264796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5" y="1424082"/>
            <a:ext cx="951721" cy="951721"/>
          </a:xfrm>
          <a:prstGeom prst="rect">
            <a:avLst/>
          </a:prstGeom>
          <a:noFill/>
          <a:ln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6338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2" y="3680016"/>
            <a:ext cx="11558587" cy="0"/>
          </a:xfrm>
          <a:prstGeom prst="line">
            <a:avLst/>
          </a:prstGeom>
          <a:ln w="19050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8094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48587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1"/>
            <a:ext cx="6276529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6196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8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8101584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91584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5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087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4DE56B-44D2-4169-AA9E-21A348BB0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B1E6C51-E1FB-4A06-B1B2-0D977F3DD4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Investors' Meet | Houston | Sept. 202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12656BA-1E5F-454A-82B7-48825EC29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B13EDE-29CF-4CA4-9010-AA755714F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C68A2-2EC2-4D38-8FDE-9772B4695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28644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5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7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29469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155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939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71103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86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3970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5658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7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3546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108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9050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4747822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4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3375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219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2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4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94409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8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8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5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10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6784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97278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6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796358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547042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745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200" cy="31664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22764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3846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846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7960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3226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44962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A391E1D-6927-4B36-986D-E693D888F8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F46813C-089B-42DD-93EF-4FAD03D8F41D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247868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186EDF6-F493-451E-A790-F103405D687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E043909A-6757-45F3-BA9E-CD764990903A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F872CE8F-3F0B-4F10-9C46-F1971232C540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424B456A-ACDB-452F-A82C-A447A8022FC5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10EC6263-C735-435C-B5FB-A1A090D82696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BCFC957E-A1AA-4488-B4F7-E42719D90083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860ED8C1-914B-4FE2-B202-3EADDA88671B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D2D67AD1-78E4-4ACD-A2B4-E755EE0BC3EE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A2614495-B0AA-4BFB-AAFC-C277AB1903E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B31AC91-26B0-46CE-A559-6170B43B5436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4F3AC0CE-CAD1-4292-BAD3-251D546DBC98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EA7F5A4-1850-4AC2-9D22-F35FD755199B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EF02D1C-4F7D-42B1-949D-F6F32794F0CD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D7010C52-AD41-4AC8-BDDD-DDA0DAC1313A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A87E638F-7416-47FB-BC05-73E41DA33B52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05BD109-9013-4BAA-A2E0-E0D14BD8A6D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CB3C821B-BE4C-4939-90A7-7C674C6CC188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286A8CF5-F350-482E-A284-B52BD7223372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B06DE91-73BB-4FE0-B581-AC7421221637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5FDFD0DD-D795-4666-A1B7-830D6E1999DF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122FBAC-3E0E-4642-9209-057F14DBD9CA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328CBA-E718-4667-9ACD-A752E3933D74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3" name="Gutter space">
              <a:extLst>
                <a:ext uri="{FF2B5EF4-FFF2-40B4-BE49-F238E27FC236}">
                  <a16:creationId xmlns:a16="http://schemas.microsoft.com/office/drawing/2014/main" id="{376D823D-D34D-49F5-BE43-29837D19CF43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85" name="Rectangle 34">
                <a:extLst>
                  <a:ext uri="{FF2B5EF4-FFF2-40B4-BE49-F238E27FC236}">
                    <a16:creationId xmlns:a16="http://schemas.microsoft.com/office/drawing/2014/main" id="{F6FEF8DA-E406-4A77-BB5C-66785DE7D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6" name="Rectangle 35">
                <a:extLst>
                  <a:ext uri="{FF2B5EF4-FFF2-40B4-BE49-F238E27FC236}">
                    <a16:creationId xmlns:a16="http://schemas.microsoft.com/office/drawing/2014/main" id="{98BCAF4F-96B6-4583-ABA1-EA7180BC76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7" name="Rectangle 36">
                <a:extLst>
                  <a:ext uri="{FF2B5EF4-FFF2-40B4-BE49-F238E27FC236}">
                    <a16:creationId xmlns:a16="http://schemas.microsoft.com/office/drawing/2014/main" id="{63B3871A-9CEC-48D0-A7CD-4EB61563E0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8" name="Rectangle 37">
                <a:extLst>
                  <a:ext uri="{FF2B5EF4-FFF2-40B4-BE49-F238E27FC236}">
                    <a16:creationId xmlns:a16="http://schemas.microsoft.com/office/drawing/2014/main" id="{56091341-1622-4A44-AEBC-2C1A6C5E96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9" name="Rectangle 38">
                <a:extLst>
                  <a:ext uri="{FF2B5EF4-FFF2-40B4-BE49-F238E27FC236}">
                    <a16:creationId xmlns:a16="http://schemas.microsoft.com/office/drawing/2014/main" id="{FDCA88BD-8A0B-4803-8BCD-DBCFE50665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0" name="Rectangle 39">
                <a:extLst>
                  <a:ext uri="{FF2B5EF4-FFF2-40B4-BE49-F238E27FC236}">
                    <a16:creationId xmlns:a16="http://schemas.microsoft.com/office/drawing/2014/main" id="{1752D24A-95D1-4BF5-942F-7403FFC979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1" name="Rectangle 40">
                <a:extLst>
                  <a:ext uri="{FF2B5EF4-FFF2-40B4-BE49-F238E27FC236}">
                    <a16:creationId xmlns:a16="http://schemas.microsoft.com/office/drawing/2014/main" id="{DDAD0B10-607F-4F76-B8E2-856CEFF459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2" name="Rectangle 41">
                <a:extLst>
                  <a:ext uri="{FF2B5EF4-FFF2-40B4-BE49-F238E27FC236}">
                    <a16:creationId xmlns:a16="http://schemas.microsoft.com/office/drawing/2014/main" id="{D86AE034-410A-4325-8973-EAF7C3B581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3" name="Rectangle 42">
                <a:extLst>
                  <a:ext uri="{FF2B5EF4-FFF2-40B4-BE49-F238E27FC236}">
                    <a16:creationId xmlns:a16="http://schemas.microsoft.com/office/drawing/2014/main" id="{420697CC-D29F-47F9-B11D-10251B5B9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4" name="Rectangle 43">
                <a:extLst>
                  <a:ext uri="{FF2B5EF4-FFF2-40B4-BE49-F238E27FC236}">
                    <a16:creationId xmlns:a16="http://schemas.microsoft.com/office/drawing/2014/main" id="{73620A14-7B53-4E94-B3B4-C239CA820B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5" name="Rectangle 44">
                <a:extLst>
                  <a:ext uri="{FF2B5EF4-FFF2-40B4-BE49-F238E27FC236}">
                    <a16:creationId xmlns:a16="http://schemas.microsoft.com/office/drawing/2014/main" id="{036C0721-D3AE-432E-B178-520AFE536C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4" name="Slide edges">
              <a:extLst>
                <a:ext uri="{FF2B5EF4-FFF2-40B4-BE49-F238E27FC236}">
                  <a16:creationId xmlns:a16="http://schemas.microsoft.com/office/drawing/2014/main" id="{00D602B6-43AC-4014-A447-2EE61049D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5" name="Footnote measure">
              <a:extLst>
                <a:ext uri="{FF2B5EF4-FFF2-40B4-BE49-F238E27FC236}">
                  <a16:creationId xmlns:a16="http://schemas.microsoft.com/office/drawing/2014/main" id="{2B634860-1500-42B7-B1D9-3DEC0117C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76" name="Whitespace measure">
              <a:extLst>
                <a:ext uri="{FF2B5EF4-FFF2-40B4-BE49-F238E27FC236}">
                  <a16:creationId xmlns:a16="http://schemas.microsoft.com/office/drawing/2014/main" id="{93F63E8E-37C1-4FB4-9789-977EBD9DF9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77" name="Five column measure">
              <a:extLst>
                <a:ext uri="{FF2B5EF4-FFF2-40B4-BE49-F238E27FC236}">
                  <a16:creationId xmlns:a16="http://schemas.microsoft.com/office/drawing/2014/main" id="{1AAD3B61-EA13-412D-A034-51AC471AC5AC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80" name="Rectangle 5">
                <a:extLst>
                  <a:ext uri="{FF2B5EF4-FFF2-40B4-BE49-F238E27FC236}">
                    <a16:creationId xmlns:a16="http://schemas.microsoft.com/office/drawing/2014/main" id="{5506CC4E-A9C4-438F-9A3F-96182A75E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1" name="Rectangle 7">
                <a:extLst>
                  <a:ext uri="{FF2B5EF4-FFF2-40B4-BE49-F238E27FC236}">
                    <a16:creationId xmlns:a16="http://schemas.microsoft.com/office/drawing/2014/main" id="{1F032728-5EDC-495D-8244-DE0BE42A5B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2" name="Rectangle 9">
                <a:extLst>
                  <a:ext uri="{FF2B5EF4-FFF2-40B4-BE49-F238E27FC236}">
                    <a16:creationId xmlns:a16="http://schemas.microsoft.com/office/drawing/2014/main" id="{2D75812C-FA03-4CBC-8BB2-F5CF950F07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3" name="Rectangle 11">
                <a:extLst>
                  <a:ext uri="{FF2B5EF4-FFF2-40B4-BE49-F238E27FC236}">
                    <a16:creationId xmlns:a16="http://schemas.microsoft.com/office/drawing/2014/main" id="{9FCE93D4-CE77-4D88-9735-6FCAC5F241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4" name="Rectangle 13">
                <a:extLst>
                  <a:ext uri="{FF2B5EF4-FFF2-40B4-BE49-F238E27FC236}">
                    <a16:creationId xmlns:a16="http://schemas.microsoft.com/office/drawing/2014/main" id="{EB18EFE9-FEC5-48E0-BA3E-10C3C75A80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8" name="Live area">
              <a:extLst>
                <a:ext uri="{FF2B5EF4-FFF2-40B4-BE49-F238E27FC236}">
                  <a16:creationId xmlns:a16="http://schemas.microsoft.com/office/drawing/2014/main" id="{E1464F76-1617-4CCA-8871-DB77ECCB8E8D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79" name="ee4pFootnotes">
              <a:extLst>
                <a:ext uri="{FF2B5EF4-FFF2-40B4-BE49-F238E27FC236}">
                  <a16:creationId xmlns:a16="http://schemas.microsoft.com/office/drawing/2014/main" id="{8483420E-9242-4947-B5F3-1922B03C5B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10069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8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5"/>
            <a:ext cx="6254496" cy="3166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7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18402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7" y="4691188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8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200"/>
            <a:ext cx="3448800" cy="116260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144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1067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003876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1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783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652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5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2" y="3207716"/>
            <a:ext cx="1547143" cy="4221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3048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06949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7" y="4691188"/>
            <a:ext cx="929337" cy="995874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8"/>
            <a:ext cx="1570152" cy="1468176"/>
          </a:xfrm>
          <a:prstGeom prst="rect">
            <a:avLst/>
          </a:prstGeom>
          <a:noFill/>
          <a:ln w="9525" cmpd="sng">
            <a:solidFill>
              <a:srgbClr val="4472C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162606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144">
                <a:solidFill>
                  <a:srgbClr val="4472C4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7589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832500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1"/>
            <a:ext cx="9619200" cy="3200400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498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rgbClr val="4472C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7751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5" y="-1308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2" y="3262146"/>
            <a:ext cx="1161047" cy="3165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2286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35776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4472C4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9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8396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838200" y="212726"/>
            <a:ext cx="10515600" cy="734804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algn="l" defTabSz="780285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2540" kern="1200" dirty="0">
                <a:solidFill>
                  <a:srgbClr val="6D2077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- KPMG </a:t>
            </a:r>
            <a:r>
              <a:rPr lang="en-US" dirty="0" err="1"/>
              <a:t>Extralight</a:t>
            </a:r>
            <a:r>
              <a:rPr lang="en-US" dirty="0"/>
              <a:t> Font 44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838200" y="998330"/>
            <a:ext cx="10515600" cy="0"/>
          </a:xfrm>
          <a:prstGeom prst="line">
            <a:avLst/>
          </a:prstGeom>
          <a:ln>
            <a:solidFill>
              <a:srgbClr val="007C9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14"/>
          <p:cNvSpPr>
            <a:spLocks noGrp="1"/>
          </p:cNvSpPr>
          <p:nvPr>
            <p:ph type="body" sz="quarter" idx="44" hasCustomPrompt="1"/>
          </p:nvPr>
        </p:nvSpPr>
        <p:spPr>
          <a:xfrm>
            <a:off x="838200" y="1557339"/>
            <a:ext cx="10515600" cy="42846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None/>
              <a:defRPr lang="en-US" sz="1024" kern="1200" baseline="0" dirty="0">
                <a:solidFill>
                  <a:schemeClr val="tx1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2pPr marL="231648" indent="-231648">
              <a:lnSpc>
                <a:spcPct val="90000"/>
              </a:lnSpc>
              <a:buFont typeface="Arial" panose="020B0604020202020204" pitchFamily="34" charset="0"/>
              <a:buChar char="—"/>
              <a:defRPr lang="en-US" sz="1024" kern="1200" baseline="0" dirty="0">
                <a:solidFill>
                  <a:schemeClr val="tx1"/>
                </a:solidFill>
                <a:latin typeface="Univers for KPMG" panose="020B0603020202020204" pitchFamily="34" charset="0"/>
                <a:ea typeface="+mn-ea"/>
                <a:cs typeface="+mn-cs"/>
              </a:defRPr>
            </a:lvl2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 </a:t>
            </a:r>
          </a:p>
          <a:p>
            <a:pPr marL="0" lvl="0" indent="0" algn="l" defTabSz="780285" rtl="0" eaLnBrk="1" latinLnBrk="0" hangingPunct="1">
              <a:lnSpc>
                <a:spcPct val="90000"/>
              </a:lnSpc>
              <a:spcBef>
                <a:spcPts val="854"/>
              </a:spcBef>
              <a:buFont typeface="Arial" panose="020B0604020202020204" pitchFamily="34" charset="0"/>
              <a:buNone/>
            </a:pPr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03754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30">
          <p15:clr>
            <a:srgbClr val="FBAE40"/>
          </p15:clr>
        </p15:guide>
        <p15:guide id="2" pos="601">
          <p15:clr>
            <a:srgbClr val="FBAE40"/>
          </p15:clr>
        </p15:guide>
        <p15:guide id="3" pos="8399">
          <p15:clr>
            <a:srgbClr val="FBAE40"/>
          </p15:clr>
        </p15:guide>
        <p15:guide id="4" orient="horz" pos="386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8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24058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Investors' Meet | Houston | Sept. 2022</a:t>
            </a:r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9005D9-4128-4B38-AEC4-0E3BE6372F7E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29020253"/>
      </p:ext>
    </p:extLst>
  </p:cSld>
  <p:clrMapOvr>
    <a:masterClrMapping/>
  </p:clrMapOvr>
  <p:transition spd="slow" advClick="0" advTm="15000"/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545639-0559-4EC0-A5A1-487CFD20F1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CE323B-AC3F-4C34-BBC9-C3AB6C292A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E66FE9-77C3-4452-9A2F-4956207599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FDEFE-CDBA-47F3-989D-8DC0EBFA4BA6}" type="datetimeFigureOut">
              <a:rPr lang="en-US" smtClean="0"/>
              <a:t>25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7A1A31-0F00-4716-9C8D-753A4448F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A98E59-DE94-4D91-8440-27E70FBCFC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5746100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B0E22-D2BD-4BEC-9ABC-5C630C47BE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997DEF-93AD-486A-AAE0-4EC531A23D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0E48DC-514C-466D-8651-73E06CADD5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FDEFE-CDBA-47F3-989D-8DC0EBFA4BA6}" type="datetimeFigureOut">
              <a:rPr lang="en-US" smtClean="0"/>
              <a:t>25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89E73-D1F6-4CC6-866C-9402AAC80E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8D941E-5E3D-4EB5-944E-EE0465C614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877389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23A60-3306-4A7E-A7D6-D681777528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00C99D-9F96-470B-BE90-224DF77A0F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32178D-277B-4E7D-9B72-172A42A5D5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FDEFE-CDBA-47F3-989D-8DC0EBFA4BA6}" type="datetimeFigureOut">
              <a:rPr lang="en-US" smtClean="0"/>
              <a:t>25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6E6DBE-61B9-4E9D-AE63-D6FCEE1A3B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278BE4-B8F1-4D4B-9081-BFBB49078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793468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A850D-62BB-411A-AC5D-2C46A06877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92E08A-B134-459D-9A5E-FDB2369D3B3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64929C-B1FC-438A-AF11-4C6C152FA6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D607F4-8053-49C1-98BA-542948744C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FDEFE-CDBA-47F3-989D-8DC0EBFA4BA6}" type="datetimeFigureOut">
              <a:rPr lang="en-US" smtClean="0"/>
              <a:t>25-Aug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6C66BD-810D-4770-BE47-7363B08D1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E9ED06-F6A7-4A02-A55A-14A6D241AE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186712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725F09-7202-487B-9DD0-1D782D0EA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C27132-22B0-401C-9C87-C394A4B06C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D9610D-DC10-44E4-86CF-E6C875CCC7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004D5F-C6E9-4518-9CCB-4DBDABC657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CF49C2D-AD41-448D-B6DC-9E47A837875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781BA6D-01C3-4D45-8FAE-6AAC1EDA0A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FDEFE-CDBA-47F3-989D-8DC0EBFA4BA6}" type="datetimeFigureOut">
              <a:rPr lang="en-US" smtClean="0"/>
              <a:t>25-Aug-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E839992-1271-4EE8-8F26-3A6E16CEB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7000BD-6810-4CD4-991D-B6995FAEF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117937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513B42-A3F3-44CD-A132-BED0259467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FF4E61-932C-4D48-BF44-0D01695BE2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FDEFE-CDBA-47F3-989D-8DC0EBFA4BA6}" type="datetimeFigureOut">
              <a:rPr lang="en-US" smtClean="0"/>
              <a:t>25-Aug-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CDA478-FF17-4180-886C-D17AB5B458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EA2947-73D0-42BE-A3EE-4D6DD572DC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103256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32D046-080B-44B0-A5D0-442A10B4C8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FDEFE-CDBA-47F3-989D-8DC0EBFA4BA6}" type="datetimeFigureOut">
              <a:rPr lang="en-US" smtClean="0"/>
              <a:t>25-Aug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FA10D8-42B0-4FDC-A602-5968ACD6C5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115CED-BE80-4C87-88FD-AFFEC7E69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73656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385B32-C1EF-4D73-8610-29F32CE261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B818C3-DE05-4F36-8BD0-0C68C3591F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1C0D89-7D2A-4AEE-AF58-66D2BFAA0A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B801AB-908A-4BCF-AC2A-0F2491156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FDEFE-CDBA-47F3-989D-8DC0EBFA4BA6}" type="datetimeFigureOut">
              <a:rPr lang="en-US" smtClean="0"/>
              <a:t>25-Aug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B347F8-4DDF-4912-B1D4-DCE5088D08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46370A-4AE9-4E7D-918E-B576B46CE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210243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431BF-9E77-4DED-A250-FF33F5F8D1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16DC5C2-241A-4AA3-8D20-855797DE33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E991AB-43B9-4C76-8DD3-C979C2C9EB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296712-25DF-413D-996F-B7E6031D2E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FDEFE-CDBA-47F3-989D-8DC0EBFA4BA6}" type="datetimeFigureOut">
              <a:rPr lang="en-US" smtClean="0"/>
              <a:t>25-Aug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44A2F5-8C76-41B0-8352-B2556DEAEC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3824B3-FBF8-4B90-B113-9418A16B9B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79349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9"/>
            <a:ext cx="932688" cy="932688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rgbClr val="4472C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19773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496454-DD78-46BE-9C71-2C5F64A61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F724391-7B8F-46DB-9931-311FADFF5E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6E3C4F-9457-4D24-8D34-120DF931FD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FDEFE-CDBA-47F3-989D-8DC0EBFA4BA6}" type="datetimeFigureOut">
              <a:rPr lang="en-US" smtClean="0"/>
              <a:t>25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163EF7-C6A5-42B9-B4F2-8D764D424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30B38D-348E-4868-9829-E25582A71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7531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783AD98-E03A-4669-9209-D19EC112957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FDB5A3D-6C0B-40C7-863C-948B226229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BB334C-DB1F-409A-8FB6-EAEBBBE5C8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FDEFE-CDBA-47F3-989D-8DC0EBFA4BA6}" type="datetimeFigureOut">
              <a:rPr lang="en-US" smtClean="0"/>
              <a:t>25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5322A8-872B-4E0E-A328-A58A605338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3460A6-4EDA-4375-91DD-6943EAC28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773483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545639-0559-4EC0-A5A1-487CFD20F1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CE323B-AC3F-4C34-BBC9-C3AB6C292A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E66FE9-77C3-4452-9A2F-4956207599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7A1A31-0F00-4716-9C8D-753A4448F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A98E59-DE94-4D91-8440-27E70FBCFC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957302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B0E22-D2BD-4BEC-9ABC-5C630C47BE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997DEF-93AD-486A-AAE0-4EC531A23D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0E48DC-514C-466D-8651-73E06CADD5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89E73-D1F6-4CC6-866C-9402AAC80E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8D941E-5E3D-4EB5-944E-EE0465C614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71727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23A60-3306-4A7E-A7D6-D681777528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00C99D-9F96-470B-BE90-224DF77A0F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32178D-277B-4E7D-9B72-172A42A5D5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6E6DBE-61B9-4E9D-AE63-D6FCEE1A3B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278BE4-B8F1-4D4B-9081-BFBB49078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236926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A850D-62BB-411A-AC5D-2C46A06877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92E08A-B134-459D-9A5E-FDB2369D3B3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64929C-B1FC-438A-AF11-4C6C152FA6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D607F4-8053-49C1-98BA-542948744C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6C66BD-810D-4770-BE47-7363B08D1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E9ED06-F6A7-4A02-A55A-14A6D241AE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10070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725F09-7202-487B-9DD0-1D782D0EA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C27132-22B0-401C-9C87-C394A4B06C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D9610D-DC10-44E4-86CF-E6C875CCC7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004D5F-C6E9-4518-9CCB-4DBDABC657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CF49C2D-AD41-448D-B6DC-9E47A837875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781BA6D-01C3-4D45-8FAE-6AAC1EDA0A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E839992-1271-4EE8-8F26-3A6E16CEB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7000BD-6810-4CD4-991D-B6995FAEF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357928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513B42-A3F3-44CD-A132-BED0259467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FF4E61-932C-4D48-BF44-0D01695BE2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CDA478-FF17-4180-886C-D17AB5B458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EA2947-73D0-42BE-A3EE-4D6DD572DC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8885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32D046-080B-44B0-A5D0-442A10B4C8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FA10D8-42B0-4FDC-A602-5968ACD6C5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115CED-BE80-4C87-88FD-AFFEC7E69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606672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385B32-C1EF-4D73-8610-29F32CE261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B818C3-DE05-4F36-8BD0-0C68C3591F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1C0D89-7D2A-4AEE-AF58-66D2BFAA0A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B801AB-908A-4BCF-AC2A-0F2491156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B347F8-4DDF-4912-B1D4-DCE5088D08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46370A-4AE9-4E7D-918E-B576B46CE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7888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623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5641785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5" y="101447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4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264796"/>
          </a:solidFill>
          <a:ln>
            <a:noFill/>
          </a:ln>
          <a:effectLst/>
        </p:spPr>
        <p:txBody>
          <a:bodyPr vert="horz" wrap="square" lIns="87105" tIns="43552" rIns="87105" bIns="43552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15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981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431BF-9E77-4DED-A250-FF33F5F8D1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16DC5C2-241A-4AA3-8D20-855797DE33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E991AB-43B9-4C76-8DD3-C979C2C9EB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296712-25DF-413D-996F-B7E6031D2E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44A2F5-8C76-41B0-8352-B2556DEAEC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3824B3-FBF8-4B90-B113-9418A16B9B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306220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496454-DD78-46BE-9C71-2C5F64A61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F724391-7B8F-46DB-9931-311FADFF5E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6E3C4F-9457-4D24-8D34-120DF931FD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163EF7-C6A5-42B9-B4F2-8D764D424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30B38D-348E-4868-9829-E25582A71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5705520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783AD98-E03A-4669-9209-D19EC112957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FDB5A3D-6C0B-40C7-863C-948B226229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BB334C-DB1F-409A-8FB6-EAEBBBE5C8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5322A8-872B-4E0E-A328-A58A605338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3460A6-4EDA-4375-91DD-6943EAC28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84767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5"/>
            <a:ext cx="10933200" cy="31664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80582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264796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8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52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281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8" y="6412332"/>
            <a:ext cx="1482051" cy="1465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8352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51810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0BD5BF-7738-4454-8BC5-A8E91D17CA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Investors' Meet | Houston | Sept. 202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18D086-2565-4BDC-AE73-10B8DF71DA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C0AAFA-E10C-4B83-83C9-4A0927FE1F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C68A2-2EC2-4D38-8FDE-9772B4695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7934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9691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6456819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A391E1D-6927-4B36-986D-E693D888F8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F46813C-089B-42DD-93EF-4FAD03D8F41D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r>
              <a:rPr lang="en-US" sz="5144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t>The End!</a:t>
            </a:r>
          </a:p>
        </p:txBody>
      </p:sp>
    </p:spTree>
    <p:extLst>
      <p:ext uri="{BB962C8B-B14F-4D97-AF65-F5344CB8AC3E}">
        <p14:creationId xmlns:p14="http://schemas.microsoft.com/office/powerpoint/2010/main" val="173350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186EDF6-F493-451E-A790-F103405D687D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No fly zone">
              <a:extLst>
                <a:ext uri="{FF2B5EF4-FFF2-40B4-BE49-F238E27FC236}">
                  <a16:creationId xmlns:a16="http://schemas.microsoft.com/office/drawing/2014/main" id="{E043909A-6757-45F3-BA9E-CD764990903A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>
                <a:solidFill>
                  <a:schemeClr val="tx1"/>
                </a:solidFill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F872CE8F-3F0B-4F10-9C46-F1971232C540}"/>
                </a:ext>
              </a:extLst>
            </p:cNvPr>
            <p:cNvCxnSpPr/>
            <p:nvPr/>
          </p:nvCxnSpPr>
          <p:spPr>
            <a:xfrm>
              <a:off x="-600" y="62280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424B456A-ACDB-452F-A82C-A447A8022FC5}"/>
                </a:ext>
              </a:extLst>
            </p:cNvPr>
            <p:cNvCxnSpPr/>
            <p:nvPr/>
          </p:nvCxnSpPr>
          <p:spPr>
            <a:xfrm>
              <a:off x="-600" y="91448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10EC6263-C735-435C-B5FB-A1A090D82696}"/>
                </a:ext>
              </a:extLst>
            </p:cNvPr>
            <p:cNvCxnSpPr/>
            <p:nvPr/>
          </p:nvCxnSpPr>
          <p:spPr>
            <a:xfrm>
              <a:off x="-600" y="120616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BCFC957E-A1AA-4488-B4F7-E42719D90083}"/>
                </a:ext>
              </a:extLst>
            </p:cNvPr>
            <p:cNvCxnSpPr/>
            <p:nvPr/>
          </p:nvCxnSpPr>
          <p:spPr>
            <a:xfrm>
              <a:off x="-600" y="149784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860ED8C1-914B-4FE2-B202-3EADDA88671B}"/>
                </a:ext>
              </a:extLst>
            </p:cNvPr>
            <p:cNvCxnSpPr/>
            <p:nvPr/>
          </p:nvCxnSpPr>
          <p:spPr>
            <a:xfrm>
              <a:off x="-600" y="178953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D2D67AD1-78E4-4ACD-A2B4-E755EE0BC3EE}"/>
                </a:ext>
              </a:extLst>
            </p:cNvPr>
            <p:cNvCxnSpPr/>
            <p:nvPr/>
          </p:nvCxnSpPr>
          <p:spPr>
            <a:xfrm>
              <a:off x="-600" y="208121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A2614495-B0AA-4BFB-AAFC-C277AB1903E1}"/>
                </a:ext>
              </a:extLst>
            </p:cNvPr>
            <p:cNvCxnSpPr/>
            <p:nvPr/>
          </p:nvCxnSpPr>
          <p:spPr>
            <a:xfrm>
              <a:off x="-600" y="237144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B31AC91-26B0-46CE-A559-6170B43B5436}"/>
                </a:ext>
              </a:extLst>
            </p:cNvPr>
            <p:cNvCxnSpPr/>
            <p:nvPr/>
          </p:nvCxnSpPr>
          <p:spPr>
            <a:xfrm>
              <a:off x="-600" y="266167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4F3AC0CE-CAD1-4292-BAD3-251D546DBC98}"/>
                </a:ext>
              </a:extLst>
            </p:cNvPr>
            <p:cNvCxnSpPr/>
            <p:nvPr/>
          </p:nvCxnSpPr>
          <p:spPr>
            <a:xfrm>
              <a:off x="-600" y="295190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EA7F5A4-1850-4AC2-9D22-F35FD755199B}"/>
                </a:ext>
              </a:extLst>
            </p:cNvPr>
            <p:cNvCxnSpPr/>
            <p:nvPr/>
          </p:nvCxnSpPr>
          <p:spPr>
            <a:xfrm>
              <a:off x="-600" y="3242137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EF02D1C-4F7D-42B1-949D-F6F32794F0CD}"/>
                </a:ext>
              </a:extLst>
            </p:cNvPr>
            <p:cNvCxnSpPr/>
            <p:nvPr/>
          </p:nvCxnSpPr>
          <p:spPr>
            <a:xfrm>
              <a:off x="-600" y="3532368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D7010C52-AD41-4AC8-BDDD-DDA0DAC1313A}"/>
                </a:ext>
              </a:extLst>
            </p:cNvPr>
            <p:cNvCxnSpPr/>
            <p:nvPr/>
          </p:nvCxnSpPr>
          <p:spPr>
            <a:xfrm>
              <a:off x="-600" y="3822599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A87E638F-7416-47FB-BC05-73E41DA33B52}"/>
                </a:ext>
              </a:extLst>
            </p:cNvPr>
            <p:cNvCxnSpPr/>
            <p:nvPr/>
          </p:nvCxnSpPr>
          <p:spPr>
            <a:xfrm>
              <a:off x="-600" y="4112830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05BD109-9013-4BAA-A2E0-E0D14BD8A6D5}"/>
                </a:ext>
              </a:extLst>
            </p:cNvPr>
            <p:cNvCxnSpPr/>
            <p:nvPr/>
          </p:nvCxnSpPr>
          <p:spPr>
            <a:xfrm>
              <a:off x="-600" y="4403061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CB3C821B-BE4C-4939-90A7-7C674C6CC188}"/>
                </a:ext>
              </a:extLst>
            </p:cNvPr>
            <p:cNvCxnSpPr/>
            <p:nvPr/>
          </p:nvCxnSpPr>
          <p:spPr>
            <a:xfrm>
              <a:off x="-600" y="469329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286A8CF5-F350-482E-A284-B52BD7223372}"/>
                </a:ext>
              </a:extLst>
            </p:cNvPr>
            <p:cNvCxnSpPr/>
            <p:nvPr/>
          </p:nvCxnSpPr>
          <p:spPr>
            <a:xfrm>
              <a:off x="-600" y="4983523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B06DE91-73BB-4FE0-B581-AC7421221637}"/>
                </a:ext>
              </a:extLst>
            </p:cNvPr>
            <p:cNvCxnSpPr/>
            <p:nvPr/>
          </p:nvCxnSpPr>
          <p:spPr>
            <a:xfrm>
              <a:off x="-600" y="5273754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5FDFD0DD-D795-4666-A1B7-830D6E1999DF}"/>
                </a:ext>
              </a:extLst>
            </p:cNvPr>
            <p:cNvCxnSpPr/>
            <p:nvPr/>
          </p:nvCxnSpPr>
          <p:spPr>
            <a:xfrm>
              <a:off x="-600" y="5563985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122FBAC-3E0E-4642-9209-057F14DBD9CA}"/>
                </a:ext>
              </a:extLst>
            </p:cNvPr>
            <p:cNvCxnSpPr/>
            <p:nvPr/>
          </p:nvCxnSpPr>
          <p:spPr>
            <a:xfrm>
              <a:off x="-600" y="5854216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328CBA-E718-4667-9ACD-A752E3933D74}"/>
                </a:ext>
              </a:extLst>
            </p:cNvPr>
            <p:cNvCxnSpPr/>
            <p:nvPr/>
          </p:nvCxnSpPr>
          <p:spPr>
            <a:xfrm>
              <a:off x="-600" y="6144442"/>
              <a:ext cx="12193200" cy="0"/>
            </a:xfrm>
            <a:prstGeom prst="line">
              <a:avLst/>
            </a:prstGeom>
            <a:ln w="9525">
              <a:solidFill>
                <a:srgbClr val="30C1D7">
                  <a:alpha val="4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3" name="Gutter space">
              <a:extLst>
                <a:ext uri="{FF2B5EF4-FFF2-40B4-BE49-F238E27FC236}">
                  <a16:creationId xmlns:a16="http://schemas.microsoft.com/office/drawing/2014/main" id="{376D823D-D34D-49F5-BE43-29837D19CF43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85" name="Rectangle 34">
                <a:extLst>
                  <a:ext uri="{FF2B5EF4-FFF2-40B4-BE49-F238E27FC236}">
                    <a16:creationId xmlns:a16="http://schemas.microsoft.com/office/drawing/2014/main" id="{F6FEF8DA-E406-4A77-BB5C-66785DE7D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6" name="Rectangle 35">
                <a:extLst>
                  <a:ext uri="{FF2B5EF4-FFF2-40B4-BE49-F238E27FC236}">
                    <a16:creationId xmlns:a16="http://schemas.microsoft.com/office/drawing/2014/main" id="{98BCAF4F-96B6-4583-ABA1-EA7180BC76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7" name="Rectangle 36">
                <a:extLst>
                  <a:ext uri="{FF2B5EF4-FFF2-40B4-BE49-F238E27FC236}">
                    <a16:creationId xmlns:a16="http://schemas.microsoft.com/office/drawing/2014/main" id="{63B3871A-9CEC-48D0-A7CD-4EB61563E0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8" name="Rectangle 37">
                <a:extLst>
                  <a:ext uri="{FF2B5EF4-FFF2-40B4-BE49-F238E27FC236}">
                    <a16:creationId xmlns:a16="http://schemas.microsoft.com/office/drawing/2014/main" id="{56091341-1622-4A44-AEBC-2C1A6C5E96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9" name="Rectangle 38">
                <a:extLst>
                  <a:ext uri="{FF2B5EF4-FFF2-40B4-BE49-F238E27FC236}">
                    <a16:creationId xmlns:a16="http://schemas.microsoft.com/office/drawing/2014/main" id="{FDCA88BD-8A0B-4803-8BCD-DBCFE50665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0" name="Rectangle 39">
                <a:extLst>
                  <a:ext uri="{FF2B5EF4-FFF2-40B4-BE49-F238E27FC236}">
                    <a16:creationId xmlns:a16="http://schemas.microsoft.com/office/drawing/2014/main" id="{1752D24A-95D1-4BF5-942F-7403FFC979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1" name="Rectangle 40">
                <a:extLst>
                  <a:ext uri="{FF2B5EF4-FFF2-40B4-BE49-F238E27FC236}">
                    <a16:creationId xmlns:a16="http://schemas.microsoft.com/office/drawing/2014/main" id="{DDAD0B10-607F-4F76-B8E2-856CEFF459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2" name="Rectangle 41">
                <a:extLst>
                  <a:ext uri="{FF2B5EF4-FFF2-40B4-BE49-F238E27FC236}">
                    <a16:creationId xmlns:a16="http://schemas.microsoft.com/office/drawing/2014/main" id="{D86AE034-410A-4325-8973-EAF7C3B581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3" name="Rectangle 42">
                <a:extLst>
                  <a:ext uri="{FF2B5EF4-FFF2-40B4-BE49-F238E27FC236}">
                    <a16:creationId xmlns:a16="http://schemas.microsoft.com/office/drawing/2014/main" id="{420697CC-D29F-47F9-B11D-10251B5B9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4" name="Rectangle 43">
                <a:extLst>
                  <a:ext uri="{FF2B5EF4-FFF2-40B4-BE49-F238E27FC236}">
                    <a16:creationId xmlns:a16="http://schemas.microsoft.com/office/drawing/2014/main" id="{73620A14-7B53-4E94-B3B4-C239CA820B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95" name="Rectangle 44">
                <a:extLst>
                  <a:ext uri="{FF2B5EF4-FFF2-40B4-BE49-F238E27FC236}">
                    <a16:creationId xmlns:a16="http://schemas.microsoft.com/office/drawing/2014/main" id="{036C0721-D3AE-432E-B178-520AFE536C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rgbClr val="5A5A5A">
                  <a:alpha val="1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4" name="Slide edges">
              <a:extLst>
                <a:ext uri="{FF2B5EF4-FFF2-40B4-BE49-F238E27FC236}">
                  <a16:creationId xmlns:a16="http://schemas.microsoft.com/office/drawing/2014/main" id="{00D602B6-43AC-4014-A447-2EE61049D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5A5A5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1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5" name="Footnote measure">
              <a:extLst>
                <a:ext uri="{FF2B5EF4-FFF2-40B4-BE49-F238E27FC236}">
                  <a16:creationId xmlns:a16="http://schemas.microsoft.com/office/drawing/2014/main" id="{2B634860-1500-42B7-B1D9-3DEC0117C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44442"/>
              <a:ext cx="10933200" cy="415500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sp>
          <p:nvSpPr>
            <p:cNvPr id="76" name="Whitespace measure">
              <a:extLst>
                <a:ext uri="{FF2B5EF4-FFF2-40B4-BE49-F238E27FC236}">
                  <a16:creationId xmlns:a16="http://schemas.microsoft.com/office/drawing/2014/main" id="{93F63E8E-37C1-4FB4-9789-977EBD9DF9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849"/>
              <a:ext cx="10932229" cy="583364"/>
            </a:xfrm>
            <a:prstGeom prst="rect">
              <a:avLst/>
            </a:prstGeom>
            <a:solidFill>
              <a:srgbClr val="FFD700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15"/>
            </a:p>
          </p:txBody>
        </p:sp>
        <p:grpSp>
          <p:nvGrpSpPr>
            <p:cNvPr id="77" name="Five column measure">
              <a:extLst>
                <a:ext uri="{FF2B5EF4-FFF2-40B4-BE49-F238E27FC236}">
                  <a16:creationId xmlns:a16="http://schemas.microsoft.com/office/drawing/2014/main" id="{1AAD3B61-EA13-412D-A034-51AC471AC5AC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80" name="Rectangle 5">
                <a:extLst>
                  <a:ext uri="{FF2B5EF4-FFF2-40B4-BE49-F238E27FC236}">
                    <a16:creationId xmlns:a16="http://schemas.microsoft.com/office/drawing/2014/main" id="{5506CC4E-A9C4-438F-9A3F-96182A75E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1" name="Rectangle 7">
                <a:extLst>
                  <a:ext uri="{FF2B5EF4-FFF2-40B4-BE49-F238E27FC236}">
                    <a16:creationId xmlns:a16="http://schemas.microsoft.com/office/drawing/2014/main" id="{1F032728-5EDC-495D-8244-DE0BE42A5B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2" name="Rectangle 9">
                <a:extLst>
                  <a:ext uri="{FF2B5EF4-FFF2-40B4-BE49-F238E27FC236}">
                    <a16:creationId xmlns:a16="http://schemas.microsoft.com/office/drawing/2014/main" id="{2D75812C-FA03-4CBC-8BB2-F5CF950F07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3" name="Rectangle 11">
                <a:extLst>
                  <a:ext uri="{FF2B5EF4-FFF2-40B4-BE49-F238E27FC236}">
                    <a16:creationId xmlns:a16="http://schemas.microsoft.com/office/drawing/2014/main" id="{9FCE93D4-CE77-4D88-9735-6FCAC5F241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  <p:sp>
            <p:nvSpPr>
              <p:cNvPr id="84" name="Rectangle 13">
                <a:extLst>
                  <a:ext uri="{FF2B5EF4-FFF2-40B4-BE49-F238E27FC236}">
                    <a16:creationId xmlns:a16="http://schemas.microsoft.com/office/drawing/2014/main" id="{EB18EFE9-FEC5-48E0-BA3E-10C3C75A80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rgbClr val="5A5A5A">
                  <a:alpha val="1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15"/>
              </a:p>
            </p:txBody>
          </p:sp>
        </p:grpSp>
        <p:sp>
          <p:nvSpPr>
            <p:cNvPr id="78" name="Live area">
              <a:extLst>
                <a:ext uri="{FF2B5EF4-FFF2-40B4-BE49-F238E27FC236}">
                  <a16:creationId xmlns:a16="http://schemas.microsoft.com/office/drawing/2014/main" id="{E1464F76-1617-4CCA-8871-DB77ECCB8E8D}"/>
                </a:ext>
              </a:extLst>
            </p:cNvPr>
            <p:cNvSpPr/>
            <p:nvPr/>
          </p:nvSpPr>
          <p:spPr>
            <a:xfrm>
              <a:off x="630000" y="2081213"/>
              <a:ext cx="10933350" cy="4063229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D1C2E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53"/>
                </a:spcAft>
              </a:pPr>
              <a:endParaRPr lang="en-US" sz="1143">
                <a:solidFill>
                  <a:schemeClr val="bg1"/>
                </a:solidFill>
              </a:endParaRPr>
            </a:p>
          </p:txBody>
        </p:sp>
        <p:sp>
          <p:nvSpPr>
            <p:cNvPr id="79" name="ee4pFootnotes">
              <a:extLst>
                <a:ext uri="{FF2B5EF4-FFF2-40B4-BE49-F238E27FC236}">
                  <a16:creationId xmlns:a16="http://schemas.microsoft.com/office/drawing/2014/main" id="{8483420E-9242-4947-B5F3-1922B03C5B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00" y="6164063"/>
              <a:ext cx="9030914" cy="39587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vert="horz" wrap="square" lIns="0" tIns="0" rIns="0" bIns="0" anchor="b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53">
                  <a:solidFill>
                    <a:schemeClr val="bg1">
                      <a:lumMod val="50000"/>
                    </a:schemeClr>
                  </a:solidFill>
                  <a:cs typeface="Arial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69456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9" y="4691189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91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203"/>
            <a:ext cx="3448800" cy="116260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144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10491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2291610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2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922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11646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0578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7" y="-1305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8" y="3207719"/>
            <a:ext cx="1547143" cy="4221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3048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17694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9" y="4691189"/>
            <a:ext cx="929337" cy="995874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91"/>
            <a:ext cx="1570152" cy="1468176"/>
          </a:xfrm>
          <a:prstGeom prst="rect">
            <a:avLst/>
          </a:prstGeom>
          <a:noFill/>
          <a:ln w="9525" cmpd="sng">
            <a:solidFill>
              <a:srgbClr val="4472C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4210" tIns="171466" rIns="174210" bIns="1742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143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162606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txBody>
          <a:bodyPr wrap="square" lIns="582986" tIns="44581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endParaRPr lang="en-US" sz="5144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84489" y="1115416"/>
            <a:ext cx="2339102" cy="844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144">
                <a:solidFill>
                  <a:srgbClr val="4472C4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30497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2479296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2"/>
            <a:ext cx="9619200" cy="3200400"/>
          </a:xfrm>
          <a:prstGeom prst="rect">
            <a:avLst/>
          </a:prstGeom>
          <a:noFill/>
          <a:ln w="9525">
            <a:solidFill>
              <a:srgbClr val="4472C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9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3676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1"/>
            <a:ext cx="7189998" cy="448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39">
                <a:solidFill>
                  <a:srgbClr val="4472C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4472C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7364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57E7AC-8200-4BB6-92CF-2415DE90A1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6D3BAA-6E7D-4F8D-A430-F67E904121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14119A-32FA-4518-A27A-0884F5A585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814B9A-E0E4-4DE5-B3E7-C604577543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Investors' Meet | Houston | Sept. 2022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56C5C9-051C-4D30-9736-87282D6695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F2398C-02CB-4DE2-88E0-2B9F6110D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C68A2-2EC2-4D38-8FDE-9772B4695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77323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7" y="-1305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8" y="3262149"/>
            <a:ext cx="1161047" cy="3165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2286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8313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48786"/>
            <a:ext cx="2819400" cy="16200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67"/>
              </a:spcAft>
              <a:buFontTx/>
              <a:buNone/>
            </a:pPr>
            <a:r>
              <a:rPr lang="en-US" sz="5144">
                <a:solidFill>
                  <a:srgbClr val="4472C4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4" y="3924776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52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2568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80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715"/>
          </a:p>
        </p:txBody>
      </p:sp>
      <p:sp>
        <p:nvSpPr>
          <p:cNvPr id="8" name="Rectangle 7"/>
          <p:cNvSpPr/>
          <p:nvPr/>
        </p:nvSpPr>
        <p:spPr>
          <a:xfrm>
            <a:off x="23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sz="1715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5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7621" spc="-48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286" cap="all" spc="191" baseline="0">
                <a:solidFill>
                  <a:schemeClr val="tx2"/>
                </a:solidFill>
                <a:latin typeface="+mj-lt"/>
              </a:defRPr>
            </a:lvl1pPr>
            <a:lvl2pPr marL="435529" indent="0" algn="ctr">
              <a:buNone/>
              <a:defRPr sz="2286"/>
            </a:lvl2pPr>
            <a:lvl3pPr marL="871057" indent="0" algn="ctr">
              <a:buNone/>
              <a:defRPr sz="2286"/>
            </a:lvl3pPr>
            <a:lvl4pPr marL="1306586" indent="0" algn="ctr">
              <a:buNone/>
              <a:defRPr sz="1905"/>
            </a:lvl4pPr>
            <a:lvl5pPr marL="1742115" indent="0" algn="ctr">
              <a:buNone/>
              <a:defRPr sz="1905"/>
            </a:lvl5pPr>
            <a:lvl6pPr marL="2177644" indent="0" algn="ctr">
              <a:buNone/>
              <a:defRPr sz="1905"/>
            </a:lvl6pPr>
            <a:lvl7pPr marL="2613172" indent="0" algn="ctr">
              <a:buNone/>
              <a:defRPr sz="1905"/>
            </a:lvl7pPr>
            <a:lvl8pPr marL="3048701" indent="0" algn="ctr">
              <a:buNone/>
              <a:defRPr sz="1905"/>
            </a:lvl8pPr>
            <a:lvl9pPr marL="3484230" indent="0" algn="ctr">
              <a:buNone/>
              <a:defRPr sz="1905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9" y="6562828"/>
            <a:ext cx="1482051" cy="322524"/>
          </a:xfrm>
        </p:spPr>
        <p:txBody>
          <a:bodyPr/>
          <a:lstStyle>
            <a:lvl1pPr>
              <a:defRPr sz="1048"/>
            </a:lvl1pPr>
          </a:lstStyle>
          <a:p>
            <a:r>
              <a:rPr lang="en-US"/>
              <a:t>Investors' Meet | Houston | Sept. 2022</a:t>
            </a:r>
            <a:endParaRPr lang="en-US" sz="1048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48"/>
            </a:lvl1pPr>
          </a:lstStyle>
          <a:p>
            <a:endParaRPr lang="en-US" sz="1048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334"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83559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310" y="268134"/>
            <a:ext cx="11933381" cy="316640"/>
          </a:xfrm>
        </p:spPr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8" y="6207101"/>
            <a:ext cx="1482051" cy="351822"/>
          </a:xfrm>
        </p:spPr>
        <p:txBody>
          <a:bodyPr/>
          <a:lstStyle>
            <a:lvl1pPr>
              <a:defRPr sz="1143"/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43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334"/>
            </a:lvl1pPr>
          </a:lstStyle>
          <a:p>
            <a:fld id="{629637A9-119A-49DA-BD12-AAC58B377D80}" type="slidenum">
              <a:rPr lang="en-US" smtClean="0"/>
              <a:pPr/>
              <a:t>‹#›</a:t>
            </a:fld>
            <a:endParaRPr lang="en-US" sz="1334"/>
          </a:p>
        </p:txBody>
      </p:sp>
    </p:spTree>
    <p:extLst>
      <p:ext uri="{BB962C8B-B14F-4D97-AF65-F5344CB8AC3E}">
        <p14:creationId xmlns:p14="http://schemas.microsoft.com/office/powerpoint/2010/main" val="20346153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3300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82C103E6-56C0-4803-91FF-919D27F75820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DC84CFD-DDA8-40AC-B7BC-774D356E8F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5C5F7BC-6CB5-4CB3-84A5-E064690BD1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7" t="17930" b="19593"/>
          <a:stretch/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C3825231-F16B-47F4-BB89-AF2B79C488B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563" y="5570643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28D422-7258-4118-BAB2-F0AF6381E741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905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C9A652C-DEE4-4F9F-8889-3FABCF7248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14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7764" indent="0" algn="ctr">
              <a:buNone/>
              <a:defRPr/>
            </a:lvl4pPr>
            <a:lvl5pPr marL="435529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7"/>
            <a:ext cx="6868800" cy="4361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1524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5144" baseline="0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93000"/>
              </a:lnSpc>
            </a:pPr>
            <a:r>
              <a:rPr lang="en-US"/>
              <a:t>Title in Title Case</a:t>
            </a:r>
          </a:p>
        </p:txBody>
      </p:sp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144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1788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30913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48573"/>
          </a:xfrm>
        </p:spPr>
        <p:txBody>
          <a:bodyPr/>
          <a:lstStyle>
            <a:lvl1pPr>
              <a:defRPr sz="3239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1" y="2085629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05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05286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03595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4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71057" rtl="0" eaLnBrk="1" fontAlgn="auto" latinLnBrk="0" hangingPunct="1">
              <a:lnSpc>
                <a:spcPts val="5716"/>
              </a:lnSpc>
              <a:spcBef>
                <a:spcPts val="0"/>
              </a:spcBef>
              <a:spcAft>
                <a:spcPts val="0"/>
              </a:spcAft>
              <a:defRPr lang="en-US" sz="5144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86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14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568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046E9A-D180-403B-8825-D49A7411F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EF8DB6-1808-49F3-BBC5-91527C5535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CD47E5-E5D9-439D-A35F-F4A1ADF7A7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E4E707-E168-4C6A-8F05-3E74AB9FC4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Investors' Meet | Houston | Sept. 2022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B76EDF-0414-4DE8-83ED-6DB5C823E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236B7D-8225-4AB4-80CB-1B1ACB81A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0C68A2-2EC2-4D38-8FDE-9772B4695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42349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6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9176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0320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5" y="-1308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536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4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3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1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18409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4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2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19567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046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048" baseline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381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048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9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73128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99448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6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7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4561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191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196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264796"/>
            </a:gs>
            <a:gs pos="100000">
              <a:srgbClr val="20386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1" y="3924773"/>
            <a:ext cx="5133975" cy="923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2"/>
              </a:spcAft>
            </a:pPr>
            <a:r>
              <a:rPr lang="en-US" sz="667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53"/>
              </a:spcAft>
            </a:pPr>
            <a:endParaRPr lang="en-US" sz="114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8573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39" b="0" i="0" u="none" kern="1200" spc="0">
                <a:solidFill>
                  <a:srgbClr val="264796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473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19.xml"/><Relationship Id="rId21" Type="http://schemas.openxmlformats.org/officeDocument/2006/relationships/slideLayout" Target="../slideLayouts/slideLayout514.xml"/><Relationship Id="rId42" Type="http://schemas.openxmlformats.org/officeDocument/2006/relationships/slideLayout" Target="../slideLayouts/slideLayout535.xml"/><Relationship Id="rId47" Type="http://schemas.openxmlformats.org/officeDocument/2006/relationships/slideLayout" Target="../slideLayouts/slideLayout540.xml"/><Relationship Id="rId63" Type="http://schemas.openxmlformats.org/officeDocument/2006/relationships/slideLayout" Target="../slideLayouts/slideLayout556.xml"/><Relationship Id="rId68" Type="http://schemas.openxmlformats.org/officeDocument/2006/relationships/slideLayout" Target="../slideLayouts/slideLayout561.xml"/><Relationship Id="rId7" Type="http://schemas.openxmlformats.org/officeDocument/2006/relationships/slideLayout" Target="../slideLayouts/slideLayout500.xml"/><Relationship Id="rId71" Type="http://schemas.openxmlformats.org/officeDocument/2006/relationships/oleObject" Target="../embeddings/oleObject127.bin"/><Relationship Id="rId2" Type="http://schemas.openxmlformats.org/officeDocument/2006/relationships/slideLayout" Target="../slideLayouts/slideLayout495.xml"/><Relationship Id="rId16" Type="http://schemas.openxmlformats.org/officeDocument/2006/relationships/slideLayout" Target="../slideLayouts/slideLayout509.xml"/><Relationship Id="rId29" Type="http://schemas.openxmlformats.org/officeDocument/2006/relationships/slideLayout" Target="../slideLayouts/slideLayout522.xml"/><Relationship Id="rId11" Type="http://schemas.openxmlformats.org/officeDocument/2006/relationships/slideLayout" Target="../slideLayouts/slideLayout504.xml"/><Relationship Id="rId24" Type="http://schemas.openxmlformats.org/officeDocument/2006/relationships/slideLayout" Target="../slideLayouts/slideLayout517.xml"/><Relationship Id="rId32" Type="http://schemas.openxmlformats.org/officeDocument/2006/relationships/slideLayout" Target="../slideLayouts/slideLayout525.xml"/><Relationship Id="rId37" Type="http://schemas.openxmlformats.org/officeDocument/2006/relationships/slideLayout" Target="../slideLayouts/slideLayout530.xml"/><Relationship Id="rId40" Type="http://schemas.openxmlformats.org/officeDocument/2006/relationships/slideLayout" Target="../slideLayouts/slideLayout533.xml"/><Relationship Id="rId45" Type="http://schemas.openxmlformats.org/officeDocument/2006/relationships/slideLayout" Target="../slideLayouts/slideLayout538.xml"/><Relationship Id="rId53" Type="http://schemas.openxmlformats.org/officeDocument/2006/relationships/slideLayout" Target="../slideLayouts/slideLayout546.xml"/><Relationship Id="rId58" Type="http://schemas.openxmlformats.org/officeDocument/2006/relationships/slideLayout" Target="../slideLayouts/slideLayout551.xml"/><Relationship Id="rId66" Type="http://schemas.openxmlformats.org/officeDocument/2006/relationships/slideLayout" Target="../slideLayouts/slideLayout559.xml"/><Relationship Id="rId5" Type="http://schemas.openxmlformats.org/officeDocument/2006/relationships/slideLayout" Target="../slideLayouts/slideLayout498.xml"/><Relationship Id="rId61" Type="http://schemas.openxmlformats.org/officeDocument/2006/relationships/slideLayout" Target="../slideLayouts/slideLayout554.xml"/><Relationship Id="rId19" Type="http://schemas.openxmlformats.org/officeDocument/2006/relationships/slideLayout" Target="../slideLayouts/slideLayout512.xml"/><Relationship Id="rId14" Type="http://schemas.openxmlformats.org/officeDocument/2006/relationships/slideLayout" Target="../slideLayouts/slideLayout507.xml"/><Relationship Id="rId22" Type="http://schemas.openxmlformats.org/officeDocument/2006/relationships/slideLayout" Target="../slideLayouts/slideLayout515.xml"/><Relationship Id="rId27" Type="http://schemas.openxmlformats.org/officeDocument/2006/relationships/slideLayout" Target="../slideLayouts/slideLayout520.xml"/><Relationship Id="rId30" Type="http://schemas.openxmlformats.org/officeDocument/2006/relationships/slideLayout" Target="../slideLayouts/slideLayout523.xml"/><Relationship Id="rId35" Type="http://schemas.openxmlformats.org/officeDocument/2006/relationships/slideLayout" Target="../slideLayouts/slideLayout528.xml"/><Relationship Id="rId43" Type="http://schemas.openxmlformats.org/officeDocument/2006/relationships/slideLayout" Target="../slideLayouts/slideLayout536.xml"/><Relationship Id="rId48" Type="http://schemas.openxmlformats.org/officeDocument/2006/relationships/slideLayout" Target="../slideLayouts/slideLayout541.xml"/><Relationship Id="rId56" Type="http://schemas.openxmlformats.org/officeDocument/2006/relationships/slideLayout" Target="../slideLayouts/slideLayout549.xml"/><Relationship Id="rId64" Type="http://schemas.openxmlformats.org/officeDocument/2006/relationships/slideLayout" Target="../slideLayouts/slideLayout557.xml"/><Relationship Id="rId69" Type="http://schemas.openxmlformats.org/officeDocument/2006/relationships/theme" Target="../theme/theme10.xml"/><Relationship Id="rId8" Type="http://schemas.openxmlformats.org/officeDocument/2006/relationships/slideLayout" Target="../slideLayouts/slideLayout501.xml"/><Relationship Id="rId51" Type="http://schemas.openxmlformats.org/officeDocument/2006/relationships/slideLayout" Target="../slideLayouts/slideLayout544.xml"/><Relationship Id="rId72" Type="http://schemas.openxmlformats.org/officeDocument/2006/relationships/image" Target="../media/image2.emf"/><Relationship Id="rId3" Type="http://schemas.openxmlformats.org/officeDocument/2006/relationships/slideLayout" Target="../slideLayouts/slideLayout496.xml"/><Relationship Id="rId12" Type="http://schemas.openxmlformats.org/officeDocument/2006/relationships/slideLayout" Target="../slideLayouts/slideLayout505.xml"/><Relationship Id="rId17" Type="http://schemas.openxmlformats.org/officeDocument/2006/relationships/slideLayout" Target="../slideLayouts/slideLayout510.xml"/><Relationship Id="rId25" Type="http://schemas.openxmlformats.org/officeDocument/2006/relationships/slideLayout" Target="../slideLayouts/slideLayout518.xml"/><Relationship Id="rId33" Type="http://schemas.openxmlformats.org/officeDocument/2006/relationships/slideLayout" Target="../slideLayouts/slideLayout526.xml"/><Relationship Id="rId38" Type="http://schemas.openxmlformats.org/officeDocument/2006/relationships/slideLayout" Target="../slideLayouts/slideLayout531.xml"/><Relationship Id="rId46" Type="http://schemas.openxmlformats.org/officeDocument/2006/relationships/slideLayout" Target="../slideLayouts/slideLayout539.xml"/><Relationship Id="rId59" Type="http://schemas.openxmlformats.org/officeDocument/2006/relationships/slideLayout" Target="../slideLayouts/slideLayout552.xml"/><Relationship Id="rId67" Type="http://schemas.openxmlformats.org/officeDocument/2006/relationships/slideLayout" Target="../slideLayouts/slideLayout560.xml"/><Relationship Id="rId20" Type="http://schemas.openxmlformats.org/officeDocument/2006/relationships/slideLayout" Target="../slideLayouts/slideLayout513.xml"/><Relationship Id="rId41" Type="http://schemas.openxmlformats.org/officeDocument/2006/relationships/slideLayout" Target="../slideLayouts/slideLayout534.xml"/><Relationship Id="rId54" Type="http://schemas.openxmlformats.org/officeDocument/2006/relationships/slideLayout" Target="../slideLayouts/slideLayout547.xml"/><Relationship Id="rId62" Type="http://schemas.openxmlformats.org/officeDocument/2006/relationships/slideLayout" Target="../slideLayouts/slideLayout555.xml"/><Relationship Id="rId70" Type="http://schemas.openxmlformats.org/officeDocument/2006/relationships/tags" Target="../tags/tag155.xml"/><Relationship Id="rId1" Type="http://schemas.openxmlformats.org/officeDocument/2006/relationships/slideLayout" Target="../slideLayouts/slideLayout494.xml"/><Relationship Id="rId6" Type="http://schemas.openxmlformats.org/officeDocument/2006/relationships/slideLayout" Target="../slideLayouts/slideLayout499.xml"/><Relationship Id="rId15" Type="http://schemas.openxmlformats.org/officeDocument/2006/relationships/slideLayout" Target="../slideLayouts/slideLayout508.xml"/><Relationship Id="rId23" Type="http://schemas.openxmlformats.org/officeDocument/2006/relationships/slideLayout" Target="../slideLayouts/slideLayout516.xml"/><Relationship Id="rId28" Type="http://schemas.openxmlformats.org/officeDocument/2006/relationships/slideLayout" Target="../slideLayouts/slideLayout521.xml"/><Relationship Id="rId36" Type="http://schemas.openxmlformats.org/officeDocument/2006/relationships/slideLayout" Target="../slideLayouts/slideLayout529.xml"/><Relationship Id="rId49" Type="http://schemas.openxmlformats.org/officeDocument/2006/relationships/slideLayout" Target="../slideLayouts/slideLayout542.xml"/><Relationship Id="rId57" Type="http://schemas.openxmlformats.org/officeDocument/2006/relationships/slideLayout" Target="../slideLayouts/slideLayout550.xml"/><Relationship Id="rId10" Type="http://schemas.openxmlformats.org/officeDocument/2006/relationships/slideLayout" Target="../slideLayouts/slideLayout503.xml"/><Relationship Id="rId31" Type="http://schemas.openxmlformats.org/officeDocument/2006/relationships/slideLayout" Target="../slideLayouts/slideLayout524.xml"/><Relationship Id="rId44" Type="http://schemas.openxmlformats.org/officeDocument/2006/relationships/slideLayout" Target="../slideLayouts/slideLayout537.xml"/><Relationship Id="rId52" Type="http://schemas.openxmlformats.org/officeDocument/2006/relationships/slideLayout" Target="../slideLayouts/slideLayout545.xml"/><Relationship Id="rId60" Type="http://schemas.openxmlformats.org/officeDocument/2006/relationships/slideLayout" Target="../slideLayouts/slideLayout553.xml"/><Relationship Id="rId65" Type="http://schemas.openxmlformats.org/officeDocument/2006/relationships/slideLayout" Target="../slideLayouts/slideLayout558.xml"/><Relationship Id="rId4" Type="http://schemas.openxmlformats.org/officeDocument/2006/relationships/slideLayout" Target="../slideLayouts/slideLayout497.xml"/><Relationship Id="rId9" Type="http://schemas.openxmlformats.org/officeDocument/2006/relationships/slideLayout" Target="../slideLayouts/slideLayout502.xml"/><Relationship Id="rId13" Type="http://schemas.openxmlformats.org/officeDocument/2006/relationships/slideLayout" Target="../slideLayouts/slideLayout506.xml"/><Relationship Id="rId18" Type="http://schemas.openxmlformats.org/officeDocument/2006/relationships/slideLayout" Target="../slideLayouts/slideLayout511.xml"/><Relationship Id="rId39" Type="http://schemas.openxmlformats.org/officeDocument/2006/relationships/slideLayout" Target="../slideLayouts/slideLayout532.xml"/><Relationship Id="rId34" Type="http://schemas.openxmlformats.org/officeDocument/2006/relationships/slideLayout" Target="../slideLayouts/slideLayout527.xml"/><Relationship Id="rId50" Type="http://schemas.openxmlformats.org/officeDocument/2006/relationships/slideLayout" Target="../slideLayouts/slideLayout543.xml"/><Relationship Id="rId55" Type="http://schemas.openxmlformats.org/officeDocument/2006/relationships/slideLayout" Target="../slideLayouts/slideLayout548.xml"/></Relationships>
</file>

<file path=ppt/slideMasters/_rels/slideMaster1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87.xml"/><Relationship Id="rId21" Type="http://schemas.openxmlformats.org/officeDocument/2006/relationships/slideLayout" Target="../slideLayouts/slideLayout582.xml"/><Relationship Id="rId42" Type="http://schemas.openxmlformats.org/officeDocument/2006/relationships/slideLayout" Target="../slideLayouts/slideLayout603.xml"/><Relationship Id="rId47" Type="http://schemas.openxmlformats.org/officeDocument/2006/relationships/slideLayout" Target="../slideLayouts/slideLayout608.xml"/><Relationship Id="rId63" Type="http://schemas.openxmlformats.org/officeDocument/2006/relationships/slideLayout" Target="../slideLayouts/slideLayout624.xml"/><Relationship Id="rId68" Type="http://schemas.openxmlformats.org/officeDocument/2006/relationships/theme" Target="../theme/theme11.xml"/><Relationship Id="rId7" Type="http://schemas.openxmlformats.org/officeDocument/2006/relationships/slideLayout" Target="../slideLayouts/slideLayout568.xml"/><Relationship Id="rId71" Type="http://schemas.openxmlformats.org/officeDocument/2006/relationships/image" Target="../media/image2.emf"/><Relationship Id="rId2" Type="http://schemas.openxmlformats.org/officeDocument/2006/relationships/slideLayout" Target="../slideLayouts/slideLayout563.xml"/><Relationship Id="rId16" Type="http://schemas.openxmlformats.org/officeDocument/2006/relationships/slideLayout" Target="../slideLayouts/slideLayout577.xml"/><Relationship Id="rId29" Type="http://schemas.openxmlformats.org/officeDocument/2006/relationships/slideLayout" Target="../slideLayouts/slideLayout590.xml"/><Relationship Id="rId11" Type="http://schemas.openxmlformats.org/officeDocument/2006/relationships/slideLayout" Target="../slideLayouts/slideLayout572.xml"/><Relationship Id="rId24" Type="http://schemas.openxmlformats.org/officeDocument/2006/relationships/slideLayout" Target="../slideLayouts/slideLayout585.xml"/><Relationship Id="rId32" Type="http://schemas.openxmlformats.org/officeDocument/2006/relationships/slideLayout" Target="../slideLayouts/slideLayout593.xml"/><Relationship Id="rId37" Type="http://schemas.openxmlformats.org/officeDocument/2006/relationships/slideLayout" Target="../slideLayouts/slideLayout598.xml"/><Relationship Id="rId40" Type="http://schemas.openxmlformats.org/officeDocument/2006/relationships/slideLayout" Target="../slideLayouts/slideLayout601.xml"/><Relationship Id="rId45" Type="http://schemas.openxmlformats.org/officeDocument/2006/relationships/slideLayout" Target="../slideLayouts/slideLayout606.xml"/><Relationship Id="rId53" Type="http://schemas.openxmlformats.org/officeDocument/2006/relationships/slideLayout" Target="../slideLayouts/slideLayout614.xml"/><Relationship Id="rId58" Type="http://schemas.openxmlformats.org/officeDocument/2006/relationships/slideLayout" Target="../slideLayouts/slideLayout619.xml"/><Relationship Id="rId66" Type="http://schemas.openxmlformats.org/officeDocument/2006/relationships/slideLayout" Target="../slideLayouts/slideLayout627.xml"/><Relationship Id="rId5" Type="http://schemas.openxmlformats.org/officeDocument/2006/relationships/slideLayout" Target="../slideLayouts/slideLayout566.xml"/><Relationship Id="rId61" Type="http://schemas.openxmlformats.org/officeDocument/2006/relationships/slideLayout" Target="../slideLayouts/slideLayout622.xml"/><Relationship Id="rId19" Type="http://schemas.openxmlformats.org/officeDocument/2006/relationships/slideLayout" Target="../slideLayouts/slideLayout580.xml"/><Relationship Id="rId14" Type="http://schemas.openxmlformats.org/officeDocument/2006/relationships/slideLayout" Target="../slideLayouts/slideLayout575.xml"/><Relationship Id="rId22" Type="http://schemas.openxmlformats.org/officeDocument/2006/relationships/slideLayout" Target="../slideLayouts/slideLayout583.xml"/><Relationship Id="rId27" Type="http://schemas.openxmlformats.org/officeDocument/2006/relationships/slideLayout" Target="../slideLayouts/slideLayout588.xml"/><Relationship Id="rId30" Type="http://schemas.openxmlformats.org/officeDocument/2006/relationships/slideLayout" Target="../slideLayouts/slideLayout591.xml"/><Relationship Id="rId35" Type="http://schemas.openxmlformats.org/officeDocument/2006/relationships/slideLayout" Target="../slideLayouts/slideLayout596.xml"/><Relationship Id="rId43" Type="http://schemas.openxmlformats.org/officeDocument/2006/relationships/slideLayout" Target="../slideLayouts/slideLayout604.xml"/><Relationship Id="rId48" Type="http://schemas.openxmlformats.org/officeDocument/2006/relationships/slideLayout" Target="../slideLayouts/slideLayout609.xml"/><Relationship Id="rId56" Type="http://schemas.openxmlformats.org/officeDocument/2006/relationships/slideLayout" Target="../slideLayouts/slideLayout617.xml"/><Relationship Id="rId64" Type="http://schemas.openxmlformats.org/officeDocument/2006/relationships/slideLayout" Target="../slideLayouts/slideLayout625.xml"/><Relationship Id="rId69" Type="http://schemas.openxmlformats.org/officeDocument/2006/relationships/tags" Target="../tags/tag177.xml"/><Relationship Id="rId8" Type="http://schemas.openxmlformats.org/officeDocument/2006/relationships/slideLayout" Target="../slideLayouts/slideLayout569.xml"/><Relationship Id="rId51" Type="http://schemas.openxmlformats.org/officeDocument/2006/relationships/slideLayout" Target="../slideLayouts/slideLayout612.xml"/><Relationship Id="rId3" Type="http://schemas.openxmlformats.org/officeDocument/2006/relationships/slideLayout" Target="../slideLayouts/slideLayout564.xml"/><Relationship Id="rId12" Type="http://schemas.openxmlformats.org/officeDocument/2006/relationships/slideLayout" Target="../slideLayouts/slideLayout573.xml"/><Relationship Id="rId17" Type="http://schemas.openxmlformats.org/officeDocument/2006/relationships/slideLayout" Target="../slideLayouts/slideLayout578.xml"/><Relationship Id="rId25" Type="http://schemas.openxmlformats.org/officeDocument/2006/relationships/slideLayout" Target="../slideLayouts/slideLayout586.xml"/><Relationship Id="rId33" Type="http://schemas.openxmlformats.org/officeDocument/2006/relationships/slideLayout" Target="../slideLayouts/slideLayout594.xml"/><Relationship Id="rId38" Type="http://schemas.openxmlformats.org/officeDocument/2006/relationships/slideLayout" Target="../slideLayouts/slideLayout599.xml"/><Relationship Id="rId46" Type="http://schemas.openxmlformats.org/officeDocument/2006/relationships/slideLayout" Target="../slideLayouts/slideLayout607.xml"/><Relationship Id="rId59" Type="http://schemas.openxmlformats.org/officeDocument/2006/relationships/slideLayout" Target="../slideLayouts/slideLayout620.xml"/><Relationship Id="rId67" Type="http://schemas.openxmlformats.org/officeDocument/2006/relationships/slideLayout" Target="../slideLayouts/slideLayout628.xml"/><Relationship Id="rId20" Type="http://schemas.openxmlformats.org/officeDocument/2006/relationships/slideLayout" Target="../slideLayouts/slideLayout581.xml"/><Relationship Id="rId41" Type="http://schemas.openxmlformats.org/officeDocument/2006/relationships/slideLayout" Target="../slideLayouts/slideLayout602.xml"/><Relationship Id="rId54" Type="http://schemas.openxmlformats.org/officeDocument/2006/relationships/slideLayout" Target="../slideLayouts/slideLayout615.xml"/><Relationship Id="rId62" Type="http://schemas.openxmlformats.org/officeDocument/2006/relationships/slideLayout" Target="../slideLayouts/slideLayout623.xml"/><Relationship Id="rId70" Type="http://schemas.openxmlformats.org/officeDocument/2006/relationships/oleObject" Target="../embeddings/oleObject145.bin"/><Relationship Id="rId1" Type="http://schemas.openxmlformats.org/officeDocument/2006/relationships/slideLayout" Target="../slideLayouts/slideLayout562.xml"/><Relationship Id="rId6" Type="http://schemas.openxmlformats.org/officeDocument/2006/relationships/slideLayout" Target="../slideLayouts/slideLayout567.xml"/><Relationship Id="rId15" Type="http://schemas.openxmlformats.org/officeDocument/2006/relationships/slideLayout" Target="../slideLayouts/slideLayout576.xml"/><Relationship Id="rId23" Type="http://schemas.openxmlformats.org/officeDocument/2006/relationships/slideLayout" Target="../slideLayouts/slideLayout584.xml"/><Relationship Id="rId28" Type="http://schemas.openxmlformats.org/officeDocument/2006/relationships/slideLayout" Target="../slideLayouts/slideLayout589.xml"/><Relationship Id="rId36" Type="http://schemas.openxmlformats.org/officeDocument/2006/relationships/slideLayout" Target="../slideLayouts/slideLayout597.xml"/><Relationship Id="rId49" Type="http://schemas.openxmlformats.org/officeDocument/2006/relationships/slideLayout" Target="../slideLayouts/slideLayout610.xml"/><Relationship Id="rId57" Type="http://schemas.openxmlformats.org/officeDocument/2006/relationships/slideLayout" Target="../slideLayouts/slideLayout618.xml"/><Relationship Id="rId10" Type="http://schemas.openxmlformats.org/officeDocument/2006/relationships/slideLayout" Target="../slideLayouts/slideLayout571.xml"/><Relationship Id="rId31" Type="http://schemas.openxmlformats.org/officeDocument/2006/relationships/slideLayout" Target="../slideLayouts/slideLayout592.xml"/><Relationship Id="rId44" Type="http://schemas.openxmlformats.org/officeDocument/2006/relationships/slideLayout" Target="../slideLayouts/slideLayout605.xml"/><Relationship Id="rId52" Type="http://schemas.openxmlformats.org/officeDocument/2006/relationships/slideLayout" Target="../slideLayouts/slideLayout613.xml"/><Relationship Id="rId60" Type="http://schemas.openxmlformats.org/officeDocument/2006/relationships/slideLayout" Target="../slideLayouts/slideLayout621.xml"/><Relationship Id="rId65" Type="http://schemas.openxmlformats.org/officeDocument/2006/relationships/slideLayout" Target="../slideLayouts/slideLayout626.xml"/><Relationship Id="rId4" Type="http://schemas.openxmlformats.org/officeDocument/2006/relationships/slideLayout" Target="../slideLayouts/slideLayout565.xml"/><Relationship Id="rId9" Type="http://schemas.openxmlformats.org/officeDocument/2006/relationships/slideLayout" Target="../slideLayouts/slideLayout570.xml"/><Relationship Id="rId13" Type="http://schemas.openxmlformats.org/officeDocument/2006/relationships/slideLayout" Target="../slideLayouts/slideLayout574.xml"/><Relationship Id="rId18" Type="http://schemas.openxmlformats.org/officeDocument/2006/relationships/slideLayout" Target="../slideLayouts/slideLayout579.xml"/><Relationship Id="rId39" Type="http://schemas.openxmlformats.org/officeDocument/2006/relationships/slideLayout" Target="../slideLayouts/slideLayout600.xml"/><Relationship Id="rId34" Type="http://schemas.openxmlformats.org/officeDocument/2006/relationships/slideLayout" Target="../slideLayouts/slideLayout595.xml"/><Relationship Id="rId50" Type="http://schemas.openxmlformats.org/officeDocument/2006/relationships/slideLayout" Target="../slideLayouts/slideLayout611.xml"/><Relationship Id="rId55" Type="http://schemas.openxmlformats.org/officeDocument/2006/relationships/slideLayout" Target="../slideLayouts/slideLayout616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630.xml"/><Relationship Id="rId1" Type="http://schemas.openxmlformats.org/officeDocument/2006/relationships/slideLayout" Target="../slideLayouts/slideLayout62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8.xml"/><Relationship Id="rId3" Type="http://schemas.openxmlformats.org/officeDocument/2006/relationships/slideLayout" Target="../slideLayouts/slideLayout633.xml"/><Relationship Id="rId7" Type="http://schemas.openxmlformats.org/officeDocument/2006/relationships/slideLayout" Target="../slideLayouts/slideLayout637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632.xml"/><Relationship Id="rId1" Type="http://schemas.openxmlformats.org/officeDocument/2006/relationships/slideLayout" Target="../slideLayouts/slideLayout631.xml"/><Relationship Id="rId6" Type="http://schemas.openxmlformats.org/officeDocument/2006/relationships/slideLayout" Target="../slideLayouts/slideLayout636.xml"/><Relationship Id="rId11" Type="http://schemas.openxmlformats.org/officeDocument/2006/relationships/slideLayout" Target="../slideLayouts/slideLayout641.xml"/><Relationship Id="rId5" Type="http://schemas.openxmlformats.org/officeDocument/2006/relationships/slideLayout" Target="../slideLayouts/slideLayout635.xml"/><Relationship Id="rId10" Type="http://schemas.openxmlformats.org/officeDocument/2006/relationships/slideLayout" Target="../slideLayouts/slideLayout640.xml"/><Relationship Id="rId4" Type="http://schemas.openxmlformats.org/officeDocument/2006/relationships/slideLayout" Target="../slideLayouts/slideLayout634.xml"/><Relationship Id="rId9" Type="http://schemas.openxmlformats.org/officeDocument/2006/relationships/slideLayout" Target="../slideLayouts/slideLayout639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9.xml"/><Relationship Id="rId3" Type="http://schemas.openxmlformats.org/officeDocument/2006/relationships/slideLayout" Target="../slideLayouts/slideLayout644.xml"/><Relationship Id="rId7" Type="http://schemas.openxmlformats.org/officeDocument/2006/relationships/slideLayout" Target="../slideLayouts/slideLayout648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643.xml"/><Relationship Id="rId1" Type="http://schemas.openxmlformats.org/officeDocument/2006/relationships/slideLayout" Target="../slideLayouts/slideLayout642.xml"/><Relationship Id="rId6" Type="http://schemas.openxmlformats.org/officeDocument/2006/relationships/slideLayout" Target="../slideLayouts/slideLayout647.xml"/><Relationship Id="rId11" Type="http://schemas.openxmlformats.org/officeDocument/2006/relationships/slideLayout" Target="../slideLayouts/slideLayout652.xml"/><Relationship Id="rId5" Type="http://schemas.openxmlformats.org/officeDocument/2006/relationships/slideLayout" Target="../slideLayouts/slideLayout646.xml"/><Relationship Id="rId10" Type="http://schemas.openxmlformats.org/officeDocument/2006/relationships/slideLayout" Target="../slideLayouts/slideLayout651.xml"/><Relationship Id="rId4" Type="http://schemas.openxmlformats.org/officeDocument/2006/relationships/slideLayout" Target="../slideLayouts/slideLayout645.xml"/><Relationship Id="rId9" Type="http://schemas.openxmlformats.org/officeDocument/2006/relationships/slideLayout" Target="../slideLayouts/slideLayout65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35.xml"/><Relationship Id="rId42" Type="http://schemas.openxmlformats.org/officeDocument/2006/relationships/slideLayout" Target="../slideLayouts/slideLayout56.xml"/><Relationship Id="rId47" Type="http://schemas.openxmlformats.org/officeDocument/2006/relationships/slideLayout" Target="../slideLayouts/slideLayout61.xml"/><Relationship Id="rId63" Type="http://schemas.openxmlformats.org/officeDocument/2006/relationships/slideLayout" Target="../slideLayouts/slideLayout77.xml"/><Relationship Id="rId68" Type="http://schemas.openxmlformats.org/officeDocument/2006/relationships/slideLayout" Target="../slideLayouts/slideLayout8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slideLayout" Target="../slideLayouts/slideLayout46.xml"/><Relationship Id="rId37" Type="http://schemas.openxmlformats.org/officeDocument/2006/relationships/slideLayout" Target="../slideLayouts/slideLayout51.xml"/><Relationship Id="rId40" Type="http://schemas.openxmlformats.org/officeDocument/2006/relationships/slideLayout" Target="../slideLayouts/slideLayout54.xml"/><Relationship Id="rId45" Type="http://schemas.openxmlformats.org/officeDocument/2006/relationships/slideLayout" Target="../slideLayouts/slideLayout59.xml"/><Relationship Id="rId53" Type="http://schemas.openxmlformats.org/officeDocument/2006/relationships/slideLayout" Target="../slideLayouts/slideLayout67.xml"/><Relationship Id="rId58" Type="http://schemas.openxmlformats.org/officeDocument/2006/relationships/slideLayout" Target="../slideLayouts/slideLayout72.xml"/><Relationship Id="rId6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19.xml"/><Relationship Id="rId61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44.xml"/><Relationship Id="rId35" Type="http://schemas.openxmlformats.org/officeDocument/2006/relationships/slideLayout" Target="../slideLayouts/slideLayout49.xml"/><Relationship Id="rId43" Type="http://schemas.openxmlformats.org/officeDocument/2006/relationships/slideLayout" Target="../slideLayouts/slideLayout57.xml"/><Relationship Id="rId48" Type="http://schemas.openxmlformats.org/officeDocument/2006/relationships/slideLayout" Target="../slideLayouts/slideLayout62.xml"/><Relationship Id="rId56" Type="http://schemas.openxmlformats.org/officeDocument/2006/relationships/slideLayout" Target="../slideLayouts/slideLayout70.xml"/><Relationship Id="rId64" Type="http://schemas.openxmlformats.org/officeDocument/2006/relationships/slideLayout" Target="../slideLayouts/slideLayout78.xml"/><Relationship Id="rId69" Type="http://schemas.openxmlformats.org/officeDocument/2006/relationships/slideLayout" Target="../slideLayouts/slideLayout83.xml"/><Relationship Id="rId8" Type="http://schemas.openxmlformats.org/officeDocument/2006/relationships/slideLayout" Target="../slideLayouts/slideLayout22.xml"/><Relationship Id="rId51" Type="http://schemas.openxmlformats.org/officeDocument/2006/relationships/slideLayout" Target="../slideLayouts/slideLayout65.xml"/><Relationship Id="rId72" Type="http://schemas.openxmlformats.org/officeDocument/2006/relationships/oleObject" Target="../embeddings/oleObject1.bin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slideLayout" Target="../slideLayouts/slideLayout47.xml"/><Relationship Id="rId38" Type="http://schemas.openxmlformats.org/officeDocument/2006/relationships/slideLayout" Target="../slideLayouts/slideLayout52.xml"/><Relationship Id="rId46" Type="http://schemas.openxmlformats.org/officeDocument/2006/relationships/slideLayout" Target="../slideLayouts/slideLayout60.xml"/><Relationship Id="rId59" Type="http://schemas.openxmlformats.org/officeDocument/2006/relationships/slideLayout" Target="../slideLayouts/slideLayout73.xml"/><Relationship Id="rId67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34.xml"/><Relationship Id="rId41" Type="http://schemas.openxmlformats.org/officeDocument/2006/relationships/slideLayout" Target="../slideLayouts/slideLayout55.xml"/><Relationship Id="rId54" Type="http://schemas.openxmlformats.org/officeDocument/2006/relationships/slideLayout" Target="../slideLayouts/slideLayout68.xml"/><Relationship Id="rId62" Type="http://schemas.openxmlformats.org/officeDocument/2006/relationships/slideLayout" Target="../slideLayouts/slideLayout76.xml"/><Relationship Id="rId70" Type="http://schemas.openxmlformats.org/officeDocument/2006/relationships/theme" Target="../theme/theme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slideLayout" Target="../slideLayouts/slideLayout50.xml"/><Relationship Id="rId49" Type="http://schemas.openxmlformats.org/officeDocument/2006/relationships/slideLayout" Target="../slideLayouts/slideLayout63.xml"/><Relationship Id="rId57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45.xml"/><Relationship Id="rId44" Type="http://schemas.openxmlformats.org/officeDocument/2006/relationships/slideLayout" Target="../slideLayouts/slideLayout58.xml"/><Relationship Id="rId52" Type="http://schemas.openxmlformats.org/officeDocument/2006/relationships/slideLayout" Target="../slideLayouts/slideLayout66.xml"/><Relationship Id="rId60" Type="http://schemas.openxmlformats.org/officeDocument/2006/relationships/slideLayout" Target="../slideLayouts/slideLayout74.xml"/><Relationship Id="rId65" Type="http://schemas.openxmlformats.org/officeDocument/2006/relationships/slideLayout" Target="../slideLayouts/slideLayout79.xml"/><Relationship Id="rId73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53.xml"/><Relationship Id="rId34" Type="http://schemas.openxmlformats.org/officeDocument/2006/relationships/slideLayout" Target="../slideLayouts/slideLayout48.xml"/><Relationship Id="rId50" Type="http://schemas.openxmlformats.org/officeDocument/2006/relationships/slideLayout" Target="../slideLayouts/slideLayout64.xml"/><Relationship Id="rId55" Type="http://schemas.openxmlformats.org/officeDocument/2006/relationships/slideLayout" Target="../slideLayouts/slideLayout69.xml"/><Relationship Id="rId7" Type="http://schemas.openxmlformats.org/officeDocument/2006/relationships/slideLayout" Target="../slideLayouts/slideLayout21.xml"/><Relationship Id="rId71" Type="http://schemas.openxmlformats.org/officeDocument/2006/relationships/tags" Target="../tags/tag1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104.xml"/><Relationship Id="rId42" Type="http://schemas.openxmlformats.org/officeDocument/2006/relationships/slideLayout" Target="../slideLayouts/slideLayout125.xml"/><Relationship Id="rId47" Type="http://schemas.openxmlformats.org/officeDocument/2006/relationships/slideLayout" Target="../slideLayouts/slideLayout130.xml"/><Relationship Id="rId63" Type="http://schemas.openxmlformats.org/officeDocument/2006/relationships/slideLayout" Target="../slideLayouts/slideLayout146.xml"/><Relationship Id="rId68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9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94.xml"/><Relationship Id="rId24" Type="http://schemas.openxmlformats.org/officeDocument/2006/relationships/slideLayout" Target="../slideLayouts/slideLayout107.xml"/><Relationship Id="rId32" Type="http://schemas.openxmlformats.org/officeDocument/2006/relationships/slideLayout" Target="../slideLayouts/slideLayout115.xml"/><Relationship Id="rId37" Type="http://schemas.openxmlformats.org/officeDocument/2006/relationships/slideLayout" Target="../slideLayouts/slideLayout120.xml"/><Relationship Id="rId40" Type="http://schemas.openxmlformats.org/officeDocument/2006/relationships/slideLayout" Target="../slideLayouts/slideLayout123.xml"/><Relationship Id="rId45" Type="http://schemas.openxmlformats.org/officeDocument/2006/relationships/slideLayout" Target="../slideLayouts/slideLayout128.xml"/><Relationship Id="rId53" Type="http://schemas.openxmlformats.org/officeDocument/2006/relationships/slideLayout" Target="../slideLayouts/slideLayout136.xml"/><Relationship Id="rId58" Type="http://schemas.openxmlformats.org/officeDocument/2006/relationships/slideLayout" Target="../slideLayouts/slideLayout141.xml"/><Relationship Id="rId66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88.xml"/><Relationship Id="rId61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97.xml"/><Relationship Id="rId22" Type="http://schemas.openxmlformats.org/officeDocument/2006/relationships/slideLayout" Target="../slideLayouts/slideLayout105.xml"/><Relationship Id="rId27" Type="http://schemas.openxmlformats.org/officeDocument/2006/relationships/slideLayout" Target="../slideLayouts/slideLayout110.xml"/><Relationship Id="rId30" Type="http://schemas.openxmlformats.org/officeDocument/2006/relationships/slideLayout" Target="../slideLayouts/slideLayout113.xml"/><Relationship Id="rId35" Type="http://schemas.openxmlformats.org/officeDocument/2006/relationships/slideLayout" Target="../slideLayouts/slideLayout118.xml"/><Relationship Id="rId43" Type="http://schemas.openxmlformats.org/officeDocument/2006/relationships/slideLayout" Target="../slideLayouts/slideLayout126.xml"/><Relationship Id="rId48" Type="http://schemas.openxmlformats.org/officeDocument/2006/relationships/slideLayout" Target="../slideLayouts/slideLayout131.xml"/><Relationship Id="rId56" Type="http://schemas.openxmlformats.org/officeDocument/2006/relationships/slideLayout" Target="../slideLayouts/slideLayout139.xml"/><Relationship Id="rId64" Type="http://schemas.openxmlformats.org/officeDocument/2006/relationships/slideLayout" Target="../slideLayouts/slideLayout147.xml"/><Relationship Id="rId69" Type="http://schemas.openxmlformats.org/officeDocument/2006/relationships/slideLayout" Target="../slideLayouts/slideLayout152.xml"/><Relationship Id="rId8" Type="http://schemas.openxmlformats.org/officeDocument/2006/relationships/slideLayout" Target="../slideLayouts/slideLayout91.xml"/><Relationship Id="rId51" Type="http://schemas.openxmlformats.org/officeDocument/2006/relationships/slideLayout" Target="../slideLayouts/slideLayout134.xml"/><Relationship Id="rId72" Type="http://schemas.openxmlformats.org/officeDocument/2006/relationships/oleObject" Target="../embeddings/oleObject19.bin"/><Relationship Id="rId3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5" Type="http://schemas.openxmlformats.org/officeDocument/2006/relationships/slideLayout" Target="../slideLayouts/slideLayout108.xml"/><Relationship Id="rId33" Type="http://schemas.openxmlformats.org/officeDocument/2006/relationships/slideLayout" Target="../slideLayouts/slideLayout116.xml"/><Relationship Id="rId38" Type="http://schemas.openxmlformats.org/officeDocument/2006/relationships/slideLayout" Target="../slideLayouts/slideLayout121.xml"/><Relationship Id="rId46" Type="http://schemas.openxmlformats.org/officeDocument/2006/relationships/slideLayout" Target="../slideLayouts/slideLayout129.xml"/><Relationship Id="rId59" Type="http://schemas.openxmlformats.org/officeDocument/2006/relationships/slideLayout" Target="../slideLayouts/slideLayout142.xml"/><Relationship Id="rId67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03.xml"/><Relationship Id="rId41" Type="http://schemas.openxmlformats.org/officeDocument/2006/relationships/slideLayout" Target="../slideLayouts/slideLayout124.xml"/><Relationship Id="rId54" Type="http://schemas.openxmlformats.org/officeDocument/2006/relationships/slideLayout" Target="../slideLayouts/slideLayout137.xml"/><Relationship Id="rId62" Type="http://schemas.openxmlformats.org/officeDocument/2006/relationships/slideLayout" Target="../slideLayouts/slideLayout145.xml"/><Relationship Id="rId70" Type="http://schemas.openxmlformats.org/officeDocument/2006/relationships/theme" Target="../theme/theme4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8.xml"/><Relationship Id="rId23" Type="http://schemas.openxmlformats.org/officeDocument/2006/relationships/slideLayout" Target="../slideLayouts/slideLayout106.xml"/><Relationship Id="rId28" Type="http://schemas.openxmlformats.org/officeDocument/2006/relationships/slideLayout" Target="../slideLayouts/slideLayout111.xml"/><Relationship Id="rId36" Type="http://schemas.openxmlformats.org/officeDocument/2006/relationships/slideLayout" Target="../slideLayouts/slideLayout119.xml"/><Relationship Id="rId49" Type="http://schemas.openxmlformats.org/officeDocument/2006/relationships/slideLayout" Target="../slideLayouts/slideLayout132.xml"/><Relationship Id="rId57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14.xml"/><Relationship Id="rId44" Type="http://schemas.openxmlformats.org/officeDocument/2006/relationships/slideLayout" Target="../slideLayouts/slideLayout127.xml"/><Relationship Id="rId52" Type="http://schemas.openxmlformats.org/officeDocument/2006/relationships/slideLayout" Target="../slideLayouts/slideLayout135.xml"/><Relationship Id="rId60" Type="http://schemas.openxmlformats.org/officeDocument/2006/relationships/slideLayout" Target="../slideLayouts/slideLayout143.xml"/><Relationship Id="rId65" Type="http://schemas.openxmlformats.org/officeDocument/2006/relationships/slideLayout" Target="../slideLayouts/slideLayout148.xml"/><Relationship Id="rId73" Type="http://schemas.openxmlformats.org/officeDocument/2006/relationships/image" Target="../media/image2.emf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39" Type="http://schemas.openxmlformats.org/officeDocument/2006/relationships/slideLayout" Target="../slideLayouts/slideLayout122.xml"/><Relationship Id="rId34" Type="http://schemas.openxmlformats.org/officeDocument/2006/relationships/slideLayout" Target="../slideLayouts/slideLayout117.xml"/><Relationship Id="rId50" Type="http://schemas.openxmlformats.org/officeDocument/2006/relationships/slideLayout" Target="../slideLayouts/slideLayout133.xml"/><Relationship Id="rId55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90.xml"/><Relationship Id="rId71" Type="http://schemas.openxmlformats.org/officeDocument/2006/relationships/tags" Target="../tags/tag23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78.xml"/><Relationship Id="rId21" Type="http://schemas.openxmlformats.org/officeDocument/2006/relationships/slideLayout" Target="../slideLayouts/slideLayout173.xml"/><Relationship Id="rId42" Type="http://schemas.openxmlformats.org/officeDocument/2006/relationships/slideLayout" Target="../slideLayouts/slideLayout194.xml"/><Relationship Id="rId47" Type="http://schemas.openxmlformats.org/officeDocument/2006/relationships/slideLayout" Target="../slideLayouts/slideLayout199.xml"/><Relationship Id="rId63" Type="http://schemas.openxmlformats.org/officeDocument/2006/relationships/slideLayout" Target="../slideLayouts/slideLayout215.xml"/><Relationship Id="rId68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159.xml"/><Relationship Id="rId71" Type="http://schemas.openxmlformats.org/officeDocument/2006/relationships/oleObject" Target="../embeddings/oleObject37.bin"/><Relationship Id="rId2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8.xml"/><Relationship Id="rId29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63.xml"/><Relationship Id="rId24" Type="http://schemas.openxmlformats.org/officeDocument/2006/relationships/slideLayout" Target="../slideLayouts/slideLayout176.xml"/><Relationship Id="rId32" Type="http://schemas.openxmlformats.org/officeDocument/2006/relationships/slideLayout" Target="../slideLayouts/slideLayout184.xml"/><Relationship Id="rId37" Type="http://schemas.openxmlformats.org/officeDocument/2006/relationships/slideLayout" Target="../slideLayouts/slideLayout189.xml"/><Relationship Id="rId40" Type="http://schemas.openxmlformats.org/officeDocument/2006/relationships/slideLayout" Target="../slideLayouts/slideLayout192.xml"/><Relationship Id="rId45" Type="http://schemas.openxmlformats.org/officeDocument/2006/relationships/slideLayout" Target="../slideLayouts/slideLayout197.xml"/><Relationship Id="rId53" Type="http://schemas.openxmlformats.org/officeDocument/2006/relationships/slideLayout" Target="../slideLayouts/slideLayout205.xml"/><Relationship Id="rId58" Type="http://schemas.openxmlformats.org/officeDocument/2006/relationships/slideLayout" Target="../slideLayouts/slideLayout210.xml"/><Relationship Id="rId66" Type="http://schemas.openxmlformats.org/officeDocument/2006/relationships/slideLayout" Target="../slideLayouts/slideLayout218.xml"/><Relationship Id="rId5" Type="http://schemas.openxmlformats.org/officeDocument/2006/relationships/slideLayout" Target="../slideLayouts/slideLayout157.xml"/><Relationship Id="rId61" Type="http://schemas.openxmlformats.org/officeDocument/2006/relationships/slideLayout" Target="../slideLayouts/slideLayout213.xml"/><Relationship Id="rId19" Type="http://schemas.openxmlformats.org/officeDocument/2006/relationships/slideLayout" Target="../slideLayouts/slideLayout171.xml"/><Relationship Id="rId14" Type="http://schemas.openxmlformats.org/officeDocument/2006/relationships/slideLayout" Target="../slideLayouts/slideLayout166.xml"/><Relationship Id="rId22" Type="http://schemas.openxmlformats.org/officeDocument/2006/relationships/slideLayout" Target="../slideLayouts/slideLayout174.xml"/><Relationship Id="rId27" Type="http://schemas.openxmlformats.org/officeDocument/2006/relationships/slideLayout" Target="../slideLayouts/slideLayout179.xml"/><Relationship Id="rId30" Type="http://schemas.openxmlformats.org/officeDocument/2006/relationships/slideLayout" Target="../slideLayouts/slideLayout182.xml"/><Relationship Id="rId35" Type="http://schemas.openxmlformats.org/officeDocument/2006/relationships/slideLayout" Target="../slideLayouts/slideLayout187.xml"/><Relationship Id="rId43" Type="http://schemas.openxmlformats.org/officeDocument/2006/relationships/slideLayout" Target="../slideLayouts/slideLayout195.xml"/><Relationship Id="rId48" Type="http://schemas.openxmlformats.org/officeDocument/2006/relationships/slideLayout" Target="../slideLayouts/slideLayout200.xml"/><Relationship Id="rId56" Type="http://schemas.openxmlformats.org/officeDocument/2006/relationships/slideLayout" Target="../slideLayouts/slideLayout208.xml"/><Relationship Id="rId64" Type="http://schemas.openxmlformats.org/officeDocument/2006/relationships/slideLayout" Target="../slideLayouts/slideLayout216.xml"/><Relationship Id="rId69" Type="http://schemas.openxmlformats.org/officeDocument/2006/relationships/theme" Target="../theme/theme5.xml"/><Relationship Id="rId8" Type="http://schemas.openxmlformats.org/officeDocument/2006/relationships/slideLayout" Target="../slideLayouts/slideLayout160.xml"/><Relationship Id="rId51" Type="http://schemas.openxmlformats.org/officeDocument/2006/relationships/slideLayout" Target="../slideLayouts/slideLayout203.xml"/><Relationship Id="rId72" Type="http://schemas.openxmlformats.org/officeDocument/2006/relationships/image" Target="../media/image2.emf"/><Relationship Id="rId3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4.xml"/><Relationship Id="rId17" Type="http://schemas.openxmlformats.org/officeDocument/2006/relationships/slideLayout" Target="../slideLayouts/slideLayout169.xml"/><Relationship Id="rId25" Type="http://schemas.openxmlformats.org/officeDocument/2006/relationships/slideLayout" Target="../slideLayouts/slideLayout177.xml"/><Relationship Id="rId33" Type="http://schemas.openxmlformats.org/officeDocument/2006/relationships/slideLayout" Target="../slideLayouts/slideLayout185.xml"/><Relationship Id="rId38" Type="http://schemas.openxmlformats.org/officeDocument/2006/relationships/slideLayout" Target="../slideLayouts/slideLayout190.xml"/><Relationship Id="rId46" Type="http://schemas.openxmlformats.org/officeDocument/2006/relationships/slideLayout" Target="../slideLayouts/slideLayout198.xml"/><Relationship Id="rId59" Type="http://schemas.openxmlformats.org/officeDocument/2006/relationships/slideLayout" Target="../slideLayouts/slideLayout211.xml"/><Relationship Id="rId67" Type="http://schemas.openxmlformats.org/officeDocument/2006/relationships/slideLayout" Target="../slideLayouts/slideLayout219.xml"/><Relationship Id="rId20" Type="http://schemas.openxmlformats.org/officeDocument/2006/relationships/slideLayout" Target="../slideLayouts/slideLayout172.xml"/><Relationship Id="rId41" Type="http://schemas.openxmlformats.org/officeDocument/2006/relationships/slideLayout" Target="../slideLayouts/slideLayout193.xml"/><Relationship Id="rId54" Type="http://schemas.openxmlformats.org/officeDocument/2006/relationships/slideLayout" Target="../slideLayouts/slideLayout206.xml"/><Relationship Id="rId62" Type="http://schemas.openxmlformats.org/officeDocument/2006/relationships/slideLayout" Target="../slideLayouts/slideLayout214.xml"/><Relationship Id="rId70" Type="http://schemas.openxmlformats.org/officeDocument/2006/relationships/tags" Target="../tags/tag45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5" Type="http://schemas.openxmlformats.org/officeDocument/2006/relationships/slideLayout" Target="../slideLayouts/slideLayout167.xml"/><Relationship Id="rId23" Type="http://schemas.openxmlformats.org/officeDocument/2006/relationships/slideLayout" Target="../slideLayouts/slideLayout175.xml"/><Relationship Id="rId28" Type="http://schemas.openxmlformats.org/officeDocument/2006/relationships/slideLayout" Target="../slideLayouts/slideLayout180.xml"/><Relationship Id="rId36" Type="http://schemas.openxmlformats.org/officeDocument/2006/relationships/slideLayout" Target="../slideLayouts/slideLayout188.xml"/><Relationship Id="rId49" Type="http://schemas.openxmlformats.org/officeDocument/2006/relationships/slideLayout" Target="../slideLayouts/slideLayout201.xml"/><Relationship Id="rId57" Type="http://schemas.openxmlformats.org/officeDocument/2006/relationships/slideLayout" Target="../slideLayouts/slideLayout209.xml"/><Relationship Id="rId10" Type="http://schemas.openxmlformats.org/officeDocument/2006/relationships/slideLayout" Target="../slideLayouts/slideLayout162.xml"/><Relationship Id="rId31" Type="http://schemas.openxmlformats.org/officeDocument/2006/relationships/slideLayout" Target="../slideLayouts/slideLayout183.xml"/><Relationship Id="rId44" Type="http://schemas.openxmlformats.org/officeDocument/2006/relationships/slideLayout" Target="../slideLayouts/slideLayout196.xml"/><Relationship Id="rId52" Type="http://schemas.openxmlformats.org/officeDocument/2006/relationships/slideLayout" Target="../slideLayouts/slideLayout204.xml"/><Relationship Id="rId60" Type="http://schemas.openxmlformats.org/officeDocument/2006/relationships/slideLayout" Target="../slideLayouts/slideLayout212.xml"/><Relationship Id="rId65" Type="http://schemas.openxmlformats.org/officeDocument/2006/relationships/slideLayout" Target="../slideLayouts/slideLayout217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3" Type="http://schemas.openxmlformats.org/officeDocument/2006/relationships/slideLayout" Target="../slideLayouts/slideLayout165.xml"/><Relationship Id="rId18" Type="http://schemas.openxmlformats.org/officeDocument/2006/relationships/slideLayout" Target="../slideLayouts/slideLayout170.xml"/><Relationship Id="rId39" Type="http://schemas.openxmlformats.org/officeDocument/2006/relationships/slideLayout" Target="../slideLayouts/slideLayout191.xml"/><Relationship Id="rId34" Type="http://schemas.openxmlformats.org/officeDocument/2006/relationships/slideLayout" Target="../slideLayouts/slideLayout186.xml"/><Relationship Id="rId50" Type="http://schemas.openxmlformats.org/officeDocument/2006/relationships/slideLayout" Target="../slideLayouts/slideLayout202.xml"/><Relationship Id="rId55" Type="http://schemas.openxmlformats.org/officeDocument/2006/relationships/slideLayout" Target="../slideLayouts/slideLayout207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46.xml"/><Relationship Id="rId21" Type="http://schemas.openxmlformats.org/officeDocument/2006/relationships/slideLayout" Target="../slideLayouts/slideLayout241.xml"/><Relationship Id="rId42" Type="http://schemas.openxmlformats.org/officeDocument/2006/relationships/slideLayout" Target="../slideLayouts/slideLayout262.xml"/><Relationship Id="rId47" Type="http://schemas.openxmlformats.org/officeDocument/2006/relationships/slideLayout" Target="../slideLayouts/slideLayout267.xml"/><Relationship Id="rId63" Type="http://schemas.openxmlformats.org/officeDocument/2006/relationships/slideLayout" Target="../slideLayouts/slideLayout283.xml"/><Relationship Id="rId68" Type="http://schemas.openxmlformats.org/officeDocument/2006/relationships/slideLayout" Target="../slideLayouts/slideLayout288.xml"/><Relationship Id="rId2" Type="http://schemas.openxmlformats.org/officeDocument/2006/relationships/slideLayout" Target="../slideLayouts/slideLayout222.xml"/><Relationship Id="rId16" Type="http://schemas.openxmlformats.org/officeDocument/2006/relationships/slideLayout" Target="../slideLayouts/slideLayout236.xml"/><Relationship Id="rId29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31.xml"/><Relationship Id="rId24" Type="http://schemas.openxmlformats.org/officeDocument/2006/relationships/slideLayout" Target="../slideLayouts/slideLayout244.xml"/><Relationship Id="rId32" Type="http://schemas.openxmlformats.org/officeDocument/2006/relationships/slideLayout" Target="../slideLayouts/slideLayout252.xml"/><Relationship Id="rId37" Type="http://schemas.openxmlformats.org/officeDocument/2006/relationships/slideLayout" Target="../slideLayouts/slideLayout257.xml"/><Relationship Id="rId40" Type="http://schemas.openxmlformats.org/officeDocument/2006/relationships/slideLayout" Target="../slideLayouts/slideLayout260.xml"/><Relationship Id="rId45" Type="http://schemas.openxmlformats.org/officeDocument/2006/relationships/slideLayout" Target="../slideLayouts/slideLayout265.xml"/><Relationship Id="rId53" Type="http://schemas.openxmlformats.org/officeDocument/2006/relationships/slideLayout" Target="../slideLayouts/slideLayout273.xml"/><Relationship Id="rId58" Type="http://schemas.openxmlformats.org/officeDocument/2006/relationships/slideLayout" Target="../slideLayouts/slideLayout278.xml"/><Relationship Id="rId66" Type="http://schemas.openxmlformats.org/officeDocument/2006/relationships/slideLayout" Target="../slideLayouts/slideLayout286.xml"/><Relationship Id="rId5" Type="http://schemas.openxmlformats.org/officeDocument/2006/relationships/slideLayout" Target="../slideLayouts/slideLayout225.xml"/><Relationship Id="rId61" Type="http://schemas.openxmlformats.org/officeDocument/2006/relationships/slideLayout" Target="../slideLayouts/slideLayout281.xml"/><Relationship Id="rId19" Type="http://schemas.openxmlformats.org/officeDocument/2006/relationships/slideLayout" Target="../slideLayouts/slideLayout239.xml"/><Relationship Id="rId14" Type="http://schemas.openxmlformats.org/officeDocument/2006/relationships/slideLayout" Target="../slideLayouts/slideLayout234.xml"/><Relationship Id="rId22" Type="http://schemas.openxmlformats.org/officeDocument/2006/relationships/slideLayout" Target="../slideLayouts/slideLayout242.xml"/><Relationship Id="rId27" Type="http://schemas.openxmlformats.org/officeDocument/2006/relationships/slideLayout" Target="../slideLayouts/slideLayout247.xml"/><Relationship Id="rId30" Type="http://schemas.openxmlformats.org/officeDocument/2006/relationships/slideLayout" Target="../slideLayouts/slideLayout250.xml"/><Relationship Id="rId35" Type="http://schemas.openxmlformats.org/officeDocument/2006/relationships/slideLayout" Target="../slideLayouts/slideLayout255.xml"/><Relationship Id="rId43" Type="http://schemas.openxmlformats.org/officeDocument/2006/relationships/slideLayout" Target="../slideLayouts/slideLayout263.xml"/><Relationship Id="rId48" Type="http://schemas.openxmlformats.org/officeDocument/2006/relationships/slideLayout" Target="../slideLayouts/slideLayout268.xml"/><Relationship Id="rId56" Type="http://schemas.openxmlformats.org/officeDocument/2006/relationships/slideLayout" Target="../slideLayouts/slideLayout276.xml"/><Relationship Id="rId64" Type="http://schemas.openxmlformats.org/officeDocument/2006/relationships/slideLayout" Target="../slideLayouts/slideLayout284.xml"/><Relationship Id="rId69" Type="http://schemas.openxmlformats.org/officeDocument/2006/relationships/slideLayout" Target="../slideLayouts/slideLayout289.xml"/><Relationship Id="rId8" Type="http://schemas.openxmlformats.org/officeDocument/2006/relationships/slideLayout" Target="../slideLayouts/slideLayout228.xml"/><Relationship Id="rId51" Type="http://schemas.openxmlformats.org/officeDocument/2006/relationships/slideLayout" Target="../slideLayouts/slideLayout271.xml"/><Relationship Id="rId72" Type="http://schemas.openxmlformats.org/officeDocument/2006/relationships/oleObject" Target="../embeddings/oleObject55.bin"/><Relationship Id="rId3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32.xml"/><Relationship Id="rId17" Type="http://schemas.openxmlformats.org/officeDocument/2006/relationships/slideLayout" Target="../slideLayouts/slideLayout237.xml"/><Relationship Id="rId25" Type="http://schemas.openxmlformats.org/officeDocument/2006/relationships/slideLayout" Target="../slideLayouts/slideLayout245.xml"/><Relationship Id="rId33" Type="http://schemas.openxmlformats.org/officeDocument/2006/relationships/slideLayout" Target="../slideLayouts/slideLayout253.xml"/><Relationship Id="rId38" Type="http://schemas.openxmlformats.org/officeDocument/2006/relationships/slideLayout" Target="../slideLayouts/slideLayout258.xml"/><Relationship Id="rId46" Type="http://schemas.openxmlformats.org/officeDocument/2006/relationships/slideLayout" Target="../slideLayouts/slideLayout266.xml"/><Relationship Id="rId59" Type="http://schemas.openxmlformats.org/officeDocument/2006/relationships/slideLayout" Target="../slideLayouts/slideLayout279.xml"/><Relationship Id="rId67" Type="http://schemas.openxmlformats.org/officeDocument/2006/relationships/slideLayout" Target="../slideLayouts/slideLayout287.xml"/><Relationship Id="rId20" Type="http://schemas.openxmlformats.org/officeDocument/2006/relationships/slideLayout" Target="../slideLayouts/slideLayout240.xml"/><Relationship Id="rId41" Type="http://schemas.openxmlformats.org/officeDocument/2006/relationships/slideLayout" Target="../slideLayouts/slideLayout261.xml"/><Relationship Id="rId54" Type="http://schemas.openxmlformats.org/officeDocument/2006/relationships/slideLayout" Target="../slideLayouts/slideLayout274.xml"/><Relationship Id="rId62" Type="http://schemas.openxmlformats.org/officeDocument/2006/relationships/slideLayout" Target="../slideLayouts/slideLayout282.xml"/><Relationship Id="rId70" Type="http://schemas.openxmlformats.org/officeDocument/2006/relationships/theme" Target="../theme/theme6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5" Type="http://schemas.openxmlformats.org/officeDocument/2006/relationships/slideLayout" Target="../slideLayouts/slideLayout235.xml"/><Relationship Id="rId23" Type="http://schemas.openxmlformats.org/officeDocument/2006/relationships/slideLayout" Target="../slideLayouts/slideLayout243.xml"/><Relationship Id="rId28" Type="http://schemas.openxmlformats.org/officeDocument/2006/relationships/slideLayout" Target="../slideLayouts/slideLayout248.xml"/><Relationship Id="rId36" Type="http://schemas.openxmlformats.org/officeDocument/2006/relationships/slideLayout" Target="../slideLayouts/slideLayout256.xml"/><Relationship Id="rId49" Type="http://schemas.openxmlformats.org/officeDocument/2006/relationships/slideLayout" Target="../slideLayouts/slideLayout269.xml"/><Relationship Id="rId57" Type="http://schemas.openxmlformats.org/officeDocument/2006/relationships/slideLayout" Target="../slideLayouts/slideLayout277.xml"/><Relationship Id="rId10" Type="http://schemas.openxmlformats.org/officeDocument/2006/relationships/slideLayout" Target="../slideLayouts/slideLayout230.xml"/><Relationship Id="rId31" Type="http://schemas.openxmlformats.org/officeDocument/2006/relationships/slideLayout" Target="../slideLayouts/slideLayout251.xml"/><Relationship Id="rId44" Type="http://schemas.openxmlformats.org/officeDocument/2006/relationships/slideLayout" Target="../slideLayouts/slideLayout264.xml"/><Relationship Id="rId52" Type="http://schemas.openxmlformats.org/officeDocument/2006/relationships/slideLayout" Target="../slideLayouts/slideLayout272.xml"/><Relationship Id="rId60" Type="http://schemas.openxmlformats.org/officeDocument/2006/relationships/slideLayout" Target="../slideLayouts/slideLayout280.xml"/><Relationship Id="rId65" Type="http://schemas.openxmlformats.org/officeDocument/2006/relationships/slideLayout" Target="../slideLayouts/slideLayout285.xml"/><Relationship Id="rId73" Type="http://schemas.openxmlformats.org/officeDocument/2006/relationships/image" Target="../media/image2.emf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3" Type="http://schemas.openxmlformats.org/officeDocument/2006/relationships/slideLayout" Target="../slideLayouts/slideLayout233.xml"/><Relationship Id="rId18" Type="http://schemas.openxmlformats.org/officeDocument/2006/relationships/slideLayout" Target="../slideLayouts/slideLayout238.xml"/><Relationship Id="rId39" Type="http://schemas.openxmlformats.org/officeDocument/2006/relationships/slideLayout" Target="../slideLayouts/slideLayout259.xml"/><Relationship Id="rId34" Type="http://schemas.openxmlformats.org/officeDocument/2006/relationships/slideLayout" Target="../slideLayouts/slideLayout254.xml"/><Relationship Id="rId50" Type="http://schemas.openxmlformats.org/officeDocument/2006/relationships/slideLayout" Target="../slideLayouts/slideLayout270.xml"/><Relationship Id="rId55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27.xml"/><Relationship Id="rId71" Type="http://schemas.openxmlformats.org/officeDocument/2006/relationships/tags" Target="../tags/tag67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15.xml"/><Relationship Id="rId21" Type="http://schemas.openxmlformats.org/officeDocument/2006/relationships/slideLayout" Target="../slideLayouts/slideLayout310.xml"/><Relationship Id="rId42" Type="http://schemas.openxmlformats.org/officeDocument/2006/relationships/slideLayout" Target="../slideLayouts/slideLayout331.xml"/><Relationship Id="rId47" Type="http://schemas.openxmlformats.org/officeDocument/2006/relationships/slideLayout" Target="../slideLayouts/slideLayout336.xml"/><Relationship Id="rId63" Type="http://schemas.openxmlformats.org/officeDocument/2006/relationships/slideLayout" Target="../slideLayouts/slideLayout352.xml"/><Relationship Id="rId68" Type="http://schemas.openxmlformats.org/officeDocument/2006/relationships/slideLayout" Target="../slideLayouts/slideLayout357.xml"/><Relationship Id="rId7" Type="http://schemas.openxmlformats.org/officeDocument/2006/relationships/slideLayout" Target="../slideLayouts/slideLayout296.xml"/><Relationship Id="rId71" Type="http://schemas.openxmlformats.org/officeDocument/2006/relationships/oleObject" Target="../embeddings/oleObject73.bin"/><Relationship Id="rId2" Type="http://schemas.openxmlformats.org/officeDocument/2006/relationships/slideLayout" Target="../slideLayouts/slideLayout291.xml"/><Relationship Id="rId16" Type="http://schemas.openxmlformats.org/officeDocument/2006/relationships/slideLayout" Target="../slideLayouts/slideLayout305.xml"/><Relationship Id="rId29" Type="http://schemas.openxmlformats.org/officeDocument/2006/relationships/slideLayout" Target="../slideLayouts/slideLayout318.xml"/><Relationship Id="rId11" Type="http://schemas.openxmlformats.org/officeDocument/2006/relationships/slideLayout" Target="../slideLayouts/slideLayout300.xml"/><Relationship Id="rId24" Type="http://schemas.openxmlformats.org/officeDocument/2006/relationships/slideLayout" Target="../slideLayouts/slideLayout313.xml"/><Relationship Id="rId32" Type="http://schemas.openxmlformats.org/officeDocument/2006/relationships/slideLayout" Target="../slideLayouts/slideLayout321.xml"/><Relationship Id="rId37" Type="http://schemas.openxmlformats.org/officeDocument/2006/relationships/slideLayout" Target="../slideLayouts/slideLayout326.xml"/><Relationship Id="rId40" Type="http://schemas.openxmlformats.org/officeDocument/2006/relationships/slideLayout" Target="../slideLayouts/slideLayout329.xml"/><Relationship Id="rId45" Type="http://schemas.openxmlformats.org/officeDocument/2006/relationships/slideLayout" Target="../slideLayouts/slideLayout334.xml"/><Relationship Id="rId53" Type="http://schemas.openxmlformats.org/officeDocument/2006/relationships/slideLayout" Target="../slideLayouts/slideLayout342.xml"/><Relationship Id="rId58" Type="http://schemas.openxmlformats.org/officeDocument/2006/relationships/slideLayout" Target="../slideLayouts/slideLayout347.xml"/><Relationship Id="rId66" Type="http://schemas.openxmlformats.org/officeDocument/2006/relationships/slideLayout" Target="../slideLayouts/slideLayout355.xml"/><Relationship Id="rId5" Type="http://schemas.openxmlformats.org/officeDocument/2006/relationships/slideLayout" Target="../slideLayouts/slideLayout294.xml"/><Relationship Id="rId61" Type="http://schemas.openxmlformats.org/officeDocument/2006/relationships/slideLayout" Target="../slideLayouts/slideLayout350.xml"/><Relationship Id="rId19" Type="http://schemas.openxmlformats.org/officeDocument/2006/relationships/slideLayout" Target="../slideLayouts/slideLayout308.xml"/><Relationship Id="rId14" Type="http://schemas.openxmlformats.org/officeDocument/2006/relationships/slideLayout" Target="../slideLayouts/slideLayout303.xml"/><Relationship Id="rId22" Type="http://schemas.openxmlformats.org/officeDocument/2006/relationships/slideLayout" Target="../slideLayouts/slideLayout311.xml"/><Relationship Id="rId27" Type="http://schemas.openxmlformats.org/officeDocument/2006/relationships/slideLayout" Target="../slideLayouts/slideLayout316.xml"/><Relationship Id="rId30" Type="http://schemas.openxmlformats.org/officeDocument/2006/relationships/slideLayout" Target="../slideLayouts/slideLayout319.xml"/><Relationship Id="rId35" Type="http://schemas.openxmlformats.org/officeDocument/2006/relationships/slideLayout" Target="../slideLayouts/slideLayout324.xml"/><Relationship Id="rId43" Type="http://schemas.openxmlformats.org/officeDocument/2006/relationships/slideLayout" Target="../slideLayouts/slideLayout332.xml"/><Relationship Id="rId48" Type="http://schemas.openxmlformats.org/officeDocument/2006/relationships/slideLayout" Target="../slideLayouts/slideLayout337.xml"/><Relationship Id="rId56" Type="http://schemas.openxmlformats.org/officeDocument/2006/relationships/slideLayout" Target="../slideLayouts/slideLayout345.xml"/><Relationship Id="rId64" Type="http://schemas.openxmlformats.org/officeDocument/2006/relationships/slideLayout" Target="../slideLayouts/slideLayout353.xml"/><Relationship Id="rId69" Type="http://schemas.openxmlformats.org/officeDocument/2006/relationships/theme" Target="../theme/theme7.xml"/><Relationship Id="rId8" Type="http://schemas.openxmlformats.org/officeDocument/2006/relationships/slideLayout" Target="../slideLayouts/slideLayout297.xml"/><Relationship Id="rId51" Type="http://schemas.openxmlformats.org/officeDocument/2006/relationships/slideLayout" Target="../slideLayouts/slideLayout340.xml"/><Relationship Id="rId72" Type="http://schemas.openxmlformats.org/officeDocument/2006/relationships/image" Target="../media/image2.emf"/><Relationship Id="rId3" Type="http://schemas.openxmlformats.org/officeDocument/2006/relationships/slideLayout" Target="../slideLayouts/slideLayout292.xml"/><Relationship Id="rId12" Type="http://schemas.openxmlformats.org/officeDocument/2006/relationships/slideLayout" Target="../slideLayouts/slideLayout301.xml"/><Relationship Id="rId17" Type="http://schemas.openxmlformats.org/officeDocument/2006/relationships/slideLayout" Target="../slideLayouts/slideLayout306.xml"/><Relationship Id="rId25" Type="http://schemas.openxmlformats.org/officeDocument/2006/relationships/slideLayout" Target="../slideLayouts/slideLayout314.xml"/><Relationship Id="rId33" Type="http://schemas.openxmlformats.org/officeDocument/2006/relationships/slideLayout" Target="../slideLayouts/slideLayout322.xml"/><Relationship Id="rId38" Type="http://schemas.openxmlformats.org/officeDocument/2006/relationships/slideLayout" Target="../slideLayouts/slideLayout327.xml"/><Relationship Id="rId46" Type="http://schemas.openxmlformats.org/officeDocument/2006/relationships/slideLayout" Target="../slideLayouts/slideLayout335.xml"/><Relationship Id="rId59" Type="http://schemas.openxmlformats.org/officeDocument/2006/relationships/slideLayout" Target="../slideLayouts/slideLayout348.xml"/><Relationship Id="rId67" Type="http://schemas.openxmlformats.org/officeDocument/2006/relationships/slideLayout" Target="../slideLayouts/slideLayout356.xml"/><Relationship Id="rId20" Type="http://schemas.openxmlformats.org/officeDocument/2006/relationships/slideLayout" Target="../slideLayouts/slideLayout309.xml"/><Relationship Id="rId41" Type="http://schemas.openxmlformats.org/officeDocument/2006/relationships/slideLayout" Target="../slideLayouts/slideLayout330.xml"/><Relationship Id="rId54" Type="http://schemas.openxmlformats.org/officeDocument/2006/relationships/slideLayout" Target="../slideLayouts/slideLayout343.xml"/><Relationship Id="rId62" Type="http://schemas.openxmlformats.org/officeDocument/2006/relationships/slideLayout" Target="../slideLayouts/slideLayout351.xml"/><Relationship Id="rId70" Type="http://schemas.openxmlformats.org/officeDocument/2006/relationships/tags" Target="../tags/tag89.xml"/><Relationship Id="rId1" Type="http://schemas.openxmlformats.org/officeDocument/2006/relationships/slideLayout" Target="../slideLayouts/slideLayout290.xml"/><Relationship Id="rId6" Type="http://schemas.openxmlformats.org/officeDocument/2006/relationships/slideLayout" Target="../slideLayouts/slideLayout295.xml"/><Relationship Id="rId15" Type="http://schemas.openxmlformats.org/officeDocument/2006/relationships/slideLayout" Target="../slideLayouts/slideLayout304.xml"/><Relationship Id="rId23" Type="http://schemas.openxmlformats.org/officeDocument/2006/relationships/slideLayout" Target="../slideLayouts/slideLayout312.xml"/><Relationship Id="rId28" Type="http://schemas.openxmlformats.org/officeDocument/2006/relationships/slideLayout" Target="../slideLayouts/slideLayout317.xml"/><Relationship Id="rId36" Type="http://schemas.openxmlformats.org/officeDocument/2006/relationships/slideLayout" Target="../slideLayouts/slideLayout325.xml"/><Relationship Id="rId49" Type="http://schemas.openxmlformats.org/officeDocument/2006/relationships/slideLayout" Target="../slideLayouts/slideLayout338.xml"/><Relationship Id="rId57" Type="http://schemas.openxmlformats.org/officeDocument/2006/relationships/slideLayout" Target="../slideLayouts/slideLayout346.xml"/><Relationship Id="rId10" Type="http://schemas.openxmlformats.org/officeDocument/2006/relationships/slideLayout" Target="../slideLayouts/slideLayout299.xml"/><Relationship Id="rId31" Type="http://schemas.openxmlformats.org/officeDocument/2006/relationships/slideLayout" Target="../slideLayouts/slideLayout320.xml"/><Relationship Id="rId44" Type="http://schemas.openxmlformats.org/officeDocument/2006/relationships/slideLayout" Target="../slideLayouts/slideLayout333.xml"/><Relationship Id="rId52" Type="http://schemas.openxmlformats.org/officeDocument/2006/relationships/slideLayout" Target="../slideLayouts/slideLayout341.xml"/><Relationship Id="rId60" Type="http://schemas.openxmlformats.org/officeDocument/2006/relationships/slideLayout" Target="../slideLayouts/slideLayout349.xml"/><Relationship Id="rId65" Type="http://schemas.openxmlformats.org/officeDocument/2006/relationships/slideLayout" Target="../slideLayouts/slideLayout354.xml"/><Relationship Id="rId4" Type="http://schemas.openxmlformats.org/officeDocument/2006/relationships/slideLayout" Target="../slideLayouts/slideLayout293.xml"/><Relationship Id="rId9" Type="http://schemas.openxmlformats.org/officeDocument/2006/relationships/slideLayout" Target="../slideLayouts/slideLayout298.xml"/><Relationship Id="rId13" Type="http://schemas.openxmlformats.org/officeDocument/2006/relationships/slideLayout" Target="../slideLayouts/slideLayout302.xml"/><Relationship Id="rId18" Type="http://schemas.openxmlformats.org/officeDocument/2006/relationships/slideLayout" Target="../slideLayouts/slideLayout307.xml"/><Relationship Id="rId39" Type="http://schemas.openxmlformats.org/officeDocument/2006/relationships/slideLayout" Target="../slideLayouts/slideLayout328.xml"/><Relationship Id="rId34" Type="http://schemas.openxmlformats.org/officeDocument/2006/relationships/slideLayout" Target="../slideLayouts/slideLayout323.xml"/><Relationship Id="rId50" Type="http://schemas.openxmlformats.org/officeDocument/2006/relationships/slideLayout" Target="../slideLayouts/slideLayout339.xml"/><Relationship Id="rId55" Type="http://schemas.openxmlformats.org/officeDocument/2006/relationships/slideLayout" Target="../slideLayouts/slideLayout344.xml"/></Relationships>
</file>

<file path=ppt/slideMasters/_rels/slideMaster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83.xml"/><Relationship Id="rId21" Type="http://schemas.openxmlformats.org/officeDocument/2006/relationships/slideLayout" Target="../slideLayouts/slideLayout378.xml"/><Relationship Id="rId42" Type="http://schemas.openxmlformats.org/officeDocument/2006/relationships/slideLayout" Target="../slideLayouts/slideLayout399.xml"/><Relationship Id="rId47" Type="http://schemas.openxmlformats.org/officeDocument/2006/relationships/slideLayout" Target="../slideLayouts/slideLayout404.xml"/><Relationship Id="rId63" Type="http://schemas.openxmlformats.org/officeDocument/2006/relationships/slideLayout" Target="../slideLayouts/slideLayout420.xml"/><Relationship Id="rId68" Type="http://schemas.openxmlformats.org/officeDocument/2006/relationships/slideLayout" Target="../slideLayouts/slideLayout425.xml"/><Relationship Id="rId2" Type="http://schemas.openxmlformats.org/officeDocument/2006/relationships/slideLayout" Target="../slideLayouts/slideLayout359.xml"/><Relationship Id="rId16" Type="http://schemas.openxmlformats.org/officeDocument/2006/relationships/slideLayout" Target="../slideLayouts/slideLayout373.xml"/><Relationship Id="rId29" Type="http://schemas.openxmlformats.org/officeDocument/2006/relationships/slideLayout" Target="../slideLayouts/slideLayout386.xml"/><Relationship Id="rId11" Type="http://schemas.openxmlformats.org/officeDocument/2006/relationships/slideLayout" Target="../slideLayouts/slideLayout368.xml"/><Relationship Id="rId24" Type="http://schemas.openxmlformats.org/officeDocument/2006/relationships/slideLayout" Target="../slideLayouts/slideLayout381.xml"/><Relationship Id="rId32" Type="http://schemas.openxmlformats.org/officeDocument/2006/relationships/slideLayout" Target="../slideLayouts/slideLayout389.xml"/><Relationship Id="rId37" Type="http://schemas.openxmlformats.org/officeDocument/2006/relationships/slideLayout" Target="../slideLayouts/slideLayout394.xml"/><Relationship Id="rId40" Type="http://schemas.openxmlformats.org/officeDocument/2006/relationships/slideLayout" Target="../slideLayouts/slideLayout397.xml"/><Relationship Id="rId45" Type="http://schemas.openxmlformats.org/officeDocument/2006/relationships/slideLayout" Target="../slideLayouts/slideLayout402.xml"/><Relationship Id="rId53" Type="http://schemas.openxmlformats.org/officeDocument/2006/relationships/slideLayout" Target="../slideLayouts/slideLayout410.xml"/><Relationship Id="rId58" Type="http://schemas.openxmlformats.org/officeDocument/2006/relationships/slideLayout" Target="../slideLayouts/slideLayout415.xml"/><Relationship Id="rId66" Type="http://schemas.openxmlformats.org/officeDocument/2006/relationships/slideLayout" Target="../slideLayouts/slideLayout423.xml"/><Relationship Id="rId5" Type="http://schemas.openxmlformats.org/officeDocument/2006/relationships/slideLayout" Target="../slideLayouts/slideLayout362.xml"/><Relationship Id="rId61" Type="http://schemas.openxmlformats.org/officeDocument/2006/relationships/slideLayout" Target="../slideLayouts/slideLayout418.xml"/><Relationship Id="rId19" Type="http://schemas.openxmlformats.org/officeDocument/2006/relationships/slideLayout" Target="../slideLayouts/slideLayout376.xml"/><Relationship Id="rId14" Type="http://schemas.openxmlformats.org/officeDocument/2006/relationships/slideLayout" Target="../slideLayouts/slideLayout371.xml"/><Relationship Id="rId22" Type="http://schemas.openxmlformats.org/officeDocument/2006/relationships/slideLayout" Target="../slideLayouts/slideLayout379.xml"/><Relationship Id="rId27" Type="http://schemas.openxmlformats.org/officeDocument/2006/relationships/slideLayout" Target="../slideLayouts/slideLayout384.xml"/><Relationship Id="rId30" Type="http://schemas.openxmlformats.org/officeDocument/2006/relationships/slideLayout" Target="../slideLayouts/slideLayout387.xml"/><Relationship Id="rId35" Type="http://schemas.openxmlformats.org/officeDocument/2006/relationships/slideLayout" Target="../slideLayouts/slideLayout392.xml"/><Relationship Id="rId43" Type="http://schemas.openxmlformats.org/officeDocument/2006/relationships/slideLayout" Target="../slideLayouts/slideLayout400.xml"/><Relationship Id="rId48" Type="http://schemas.openxmlformats.org/officeDocument/2006/relationships/slideLayout" Target="../slideLayouts/slideLayout405.xml"/><Relationship Id="rId56" Type="http://schemas.openxmlformats.org/officeDocument/2006/relationships/slideLayout" Target="../slideLayouts/slideLayout413.xml"/><Relationship Id="rId64" Type="http://schemas.openxmlformats.org/officeDocument/2006/relationships/slideLayout" Target="../slideLayouts/slideLayout421.xml"/><Relationship Id="rId69" Type="http://schemas.openxmlformats.org/officeDocument/2006/relationships/slideLayout" Target="../slideLayouts/slideLayout426.xml"/><Relationship Id="rId8" Type="http://schemas.openxmlformats.org/officeDocument/2006/relationships/slideLayout" Target="../slideLayouts/slideLayout365.xml"/><Relationship Id="rId51" Type="http://schemas.openxmlformats.org/officeDocument/2006/relationships/slideLayout" Target="../slideLayouts/slideLayout408.xml"/><Relationship Id="rId72" Type="http://schemas.openxmlformats.org/officeDocument/2006/relationships/oleObject" Target="../embeddings/oleObject91.bin"/><Relationship Id="rId3" Type="http://schemas.openxmlformats.org/officeDocument/2006/relationships/slideLayout" Target="../slideLayouts/slideLayout360.xml"/><Relationship Id="rId12" Type="http://schemas.openxmlformats.org/officeDocument/2006/relationships/slideLayout" Target="../slideLayouts/slideLayout369.xml"/><Relationship Id="rId17" Type="http://schemas.openxmlformats.org/officeDocument/2006/relationships/slideLayout" Target="../slideLayouts/slideLayout374.xml"/><Relationship Id="rId25" Type="http://schemas.openxmlformats.org/officeDocument/2006/relationships/slideLayout" Target="../slideLayouts/slideLayout382.xml"/><Relationship Id="rId33" Type="http://schemas.openxmlformats.org/officeDocument/2006/relationships/slideLayout" Target="../slideLayouts/slideLayout390.xml"/><Relationship Id="rId38" Type="http://schemas.openxmlformats.org/officeDocument/2006/relationships/slideLayout" Target="../slideLayouts/slideLayout395.xml"/><Relationship Id="rId46" Type="http://schemas.openxmlformats.org/officeDocument/2006/relationships/slideLayout" Target="../slideLayouts/slideLayout403.xml"/><Relationship Id="rId59" Type="http://schemas.openxmlformats.org/officeDocument/2006/relationships/slideLayout" Target="../slideLayouts/slideLayout416.xml"/><Relationship Id="rId67" Type="http://schemas.openxmlformats.org/officeDocument/2006/relationships/slideLayout" Target="../slideLayouts/slideLayout424.xml"/><Relationship Id="rId20" Type="http://schemas.openxmlformats.org/officeDocument/2006/relationships/slideLayout" Target="../slideLayouts/slideLayout377.xml"/><Relationship Id="rId41" Type="http://schemas.openxmlformats.org/officeDocument/2006/relationships/slideLayout" Target="../slideLayouts/slideLayout398.xml"/><Relationship Id="rId54" Type="http://schemas.openxmlformats.org/officeDocument/2006/relationships/slideLayout" Target="../slideLayouts/slideLayout411.xml"/><Relationship Id="rId62" Type="http://schemas.openxmlformats.org/officeDocument/2006/relationships/slideLayout" Target="../slideLayouts/slideLayout419.xml"/><Relationship Id="rId70" Type="http://schemas.openxmlformats.org/officeDocument/2006/relationships/theme" Target="../theme/theme8.xml"/><Relationship Id="rId1" Type="http://schemas.openxmlformats.org/officeDocument/2006/relationships/slideLayout" Target="../slideLayouts/slideLayout358.xml"/><Relationship Id="rId6" Type="http://schemas.openxmlformats.org/officeDocument/2006/relationships/slideLayout" Target="../slideLayouts/slideLayout363.xml"/><Relationship Id="rId15" Type="http://schemas.openxmlformats.org/officeDocument/2006/relationships/slideLayout" Target="../slideLayouts/slideLayout372.xml"/><Relationship Id="rId23" Type="http://schemas.openxmlformats.org/officeDocument/2006/relationships/slideLayout" Target="../slideLayouts/slideLayout380.xml"/><Relationship Id="rId28" Type="http://schemas.openxmlformats.org/officeDocument/2006/relationships/slideLayout" Target="../slideLayouts/slideLayout385.xml"/><Relationship Id="rId36" Type="http://schemas.openxmlformats.org/officeDocument/2006/relationships/slideLayout" Target="../slideLayouts/slideLayout393.xml"/><Relationship Id="rId49" Type="http://schemas.openxmlformats.org/officeDocument/2006/relationships/slideLayout" Target="../slideLayouts/slideLayout406.xml"/><Relationship Id="rId57" Type="http://schemas.openxmlformats.org/officeDocument/2006/relationships/slideLayout" Target="../slideLayouts/slideLayout414.xml"/><Relationship Id="rId10" Type="http://schemas.openxmlformats.org/officeDocument/2006/relationships/slideLayout" Target="../slideLayouts/slideLayout367.xml"/><Relationship Id="rId31" Type="http://schemas.openxmlformats.org/officeDocument/2006/relationships/slideLayout" Target="../slideLayouts/slideLayout388.xml"/><Relationship Id="rId44" Type="http://schemas.openxmlformats.org/officeDocument/2006/relationships/slideLayout" Target="../slideLayouts/slideLayout401.xml"/><Relationship Id="rId52" Type="http://schemas.openxmlformats.org/officeDocument/2006/relationships/slideLayout" Target="../slideLayouts/slideLayout409.xml"/><Relationship Id="rId60" Type="http://schemas.openxmlformats.org/officeDocument/2006/relationships/slideLayout" Target="../slideLayouts/slideLayout417.xml"/><Relationship Id="rId65" Type="http://schemas.openxmlformats.org/officeDocument/2006/relationships/slideLayout" Target="../slideLayouts/slideLayout422.xml"/><Relationship Id="rId73" Type="http://schemas.openxmlformats.org/officeDocument/2006/relationships/image" Target="../media/image2.emf"/><Relationship Id="rId4" Type="http://schemas.openxmlformats.org/officeDocument/2006/relationships/slideLayout" Target="../slideLayouts/slideLayout361.xml"/><Relationship Id="rId9" Type="http://schemas.openxmlformats.org/officeDocument/2006/relationships/slideLayout" Target="../slideLayouts/slideLayout366.xml"/><Relationship Id="rId13" Type="http://schemas.openxmlformats.org/officeDocument/2006/relationships/slideLayout" Target="../slideLayouts/slideLayout370.xml"/><Relationship Id="rId18" Type="http://schemas.openxmlformats.org/officeDocument/2006/relationships/slideLayout" Target="../slideLayouts/slideLayout375.xml"/><Relationship Id="rId39" Type="http://schemas.openxmlformats.org/officeDocument/2006/relationships/slideLayout" Target="../slideLayouts/slideLayout396.xml"/><Relationship Id="rId34" Type="http://schemas.openxmlformats.org/officeDocument/2006/relationships/slideLayout" Target="../slideLayouts/slideLayout391.xml"/><Relationship Id="rId50" Type="http://schemas.openxmlformats.org/officeDocument/2006/relationships/slideLayout" Target="../slideLayouts/slideLayout407.xml"/><Relationship Id="rId55" Type="http://schemas.openxmlformats.org/officeDocument/2006/relationships/slideLayout" Target="../slideLayouts/slideLayout412.xml"/><Relationship Id="rId7" Type="http://schemas.openxmlformats.org/officeDocument/2006/relationships/slideLayout" Target="../slideLayouts/slideLayout364.xml"/><Relationship Id="rId71" Type="http://schemas.openxmlformats.org/officeDocument/2006/relationships/tags" Target="../tags/tag111.xml"/></Relationships>
</file>

<file path=ppt/slideMasters/_rels/slideMaster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52.xml"/><Relationship Id="rId21" Type="http://schemas.openxmlformats.org/officeDocument/2006/relationships/slideLayout" Target="../slideLayouts/slideLayout447.xml"/><Relationship Id="rId42" Type="http://schemas.openxmlformats.org/officeDocument/2006/relationships/slideLayout" Target="../slideLayouts/slideLayout468.xml"/><Relationship Id="rId47" Type="http://schemas.openxmlformats.org/officeDocument/2006/relationships/slideLayout" Target="../slideLayouts/slideLayout473.xml"/><Relationship Id="rId63" Type="http://schemas.openxmlformats.org/officeDocument/2006/relationships/slideLayout" Target="../slideLayouts/slideLayout489.xml"/><Relationship Id="rId68" Type="http://schemas.openxmlformats.org/officeDocument/2006/relationships/theme" Target="../theme/theme9.xml"/><Relationship Id="rId7" Type="http://schemas.openxmlformats.org/officeDocument/2006/relationships/slideLayout" Target="../slideLayouts/slideLayout433.xml"/><Relationship Id="rId71" Type="http://schemas.openxmlformats.org/officeDocument/2006/relationships/image" Target="../media/image2.emf"/><Relationship Id="rId2" Type="http://schemas.openxmlformats.org/officeDocument/2006/relationships/slideLayout" Target="../slideLayouts/slideLayout428.xml"/><Relationship Id="rId16" Type="http://schemas.openxmlformats.org/officeDocument/2006/relationships/slideLayout" Target="../slideLayouts/slideLayout442.xml"/><Relationship Id="rId29" Type="http://schemas.openxmlformats.org/officeDocument/2006/relationships/slideLayout" Target="../slideLayouts/slideLayout455.xml"/><Relationship Id="rId11" Type="http://schemas.openxmlformats.org/officeDocument/2006/relationships/slideLayout" Target="../slideLayouts/slideLayout437.xml"/><Relationship Id="rId24" Type="http://schemas.openxmlformats.org/officeDocument/2006/relationships/slideLayout" Target="../slideLayouts/slideLayout450.xml"/><Relationship Id="rId32" Type="http://schemas.openxmlformats.org/officeDocument/2006/relationships/slideLayout" Target="../slideLayouts/slideLayout458.xml"/><Relationship Id="rId37" Type="http://schemas.openxmlformats.org/officeDocument/2006/relationships/slideLayout" Target="../slideLayouts/slideLayout463.xml"/><Relationship Id="rId40" Type="http://schemas.openxmlformats.org/officeDocument/2006/relationships/slideLayout" Target="../slideLayouts/slideLayout466.xml"/><Relationship Id="rId45" Type="http://schemas.openxmlformats.org/officeDocument/2006/relationships/slideLayout" Target="../slideLayouts/slideLayout471.xml"/><Relationship Id="rId53" Type="http://schemas.openxmlformats.org/officeDocument/2006/relationships/slideLayout" Target="../slideLayouts/slideLayout479.xml"/><Relationship Id="rId58" Type="http://schemas.openxmlformats.org/officeDocument/2006/relationships/slideLayout" Target="../slideLayouts/slideLayout484.xml"/><Relationship Id="rId66" Type="http://schemas.openxmlformats.org/officeDocument/2006/relationships/slideLayout" Target="../slideLayouts/slideLayout492.xml"/><Relationship Id="rId5" Type="http://schemas.openxmlformats.org/officeDocument/2006/relationships/slideLayout" Target="../slideLayouts/slideLayout431.xml"/><Relationship Id="rId61" Type="http://schemas.openxmlformats.org/officeDocument/2006/relationships/slideLayout" Target="../slideLayouts/slideLayout487.xml"/><Relationship Id="rId19" Type="http://schemas.openxmlformats.org/officeDocument/2006/relationships/slideLayout" Target="../slideLayouts/slideLayout445.xml"/><Relationship Id="rId14" Type="http://schemas.openxmlformats.org/officeDocument/2006/relationships/slideLayout" Target="../slideLayouts/slideLayout440.xml"/><Relationship Id="rId22" Type="http://schemas.openxmlformats.org/officeDocument/2006/relationships/slideLayout" Target="../slideLayouts/slideLayout448.xml"/><Relationship Id="rId27" Type="http://schemas.openxmlformats.org/officeDocument/2006/relationships/slideLayout" Target="../slideLayouts/slideLayout453.xml"/><Relationship Id="rId30" Type="http://schemas.openxmlformats.org/officeDocument/2006/relationships/slideLayout" Target="../slideLayouts/slideLayout456.xml"/><Relationship Id="rId35" Type="http://schemas.openxmlformats.org/officeDocument/2006/relationships/slideLayout" Target="../slideLayouts/slideLayout461.xml"/><Relationship Id="rId43" Type="http://schemas.openxmlformats.org/officeDocument/2006/relationships/slideLayout" Target="../slideLayouts/slideLayout469.xml"/><Relationship Id="rId48" Type="http://schemas.openxmlformats.org/officeDocument/2006/relationships/slideLayout" Target="../slideLayouts/slideLayout474.xml"/><Relationship Id="rId56" Type="http://schemas.openxmlformats.org/officeDocument/2006/relationships/slideLayout" Target="../slideLayouts/slideLayout482.xml"/><Relationship Id="rId64" Type="http://schemas.openxmlformats.org/officeDocument/2006/relationships/slideLayout" Target="../slideLayouts/slideLayout490.xml"/><Relationship Id="rId69" Type="http://schemas.openxmlformats.org/officeDocument/2006/relationships/tags" Target="../tags/tag133.xml"/><Relationship Id="rId8" Type="http://schemas.openxmlformats.org/officeDocument/2006/relationships/slideLayout" Target="../slideLayouts/slideLayout434.xml"/><Relationship Id="rId51" Type="http://schemas.openxmlformats.org/officeDocument/2006/relationships/slideLayout" Target="../slideLayouts/slideLayout477.xml"/><Relationship Id="rId3" Type="http://schemas.openxmlformats.org/officeDocument/2006/relationships/slideLayout" Target="../slideLayouts/slideLayout429.xml"/><Relationship Id="rId12" Type="http://schemas.openxmlformats.org/officeDocument/2006/relationships/slideLayout" Target="../slideLayouts/slideLayout438.xml"/><Relationship Id="rId17" Type="http://schemas.openxmlformats.org/officeDocument/2006/relationships/slideLayout" Target="../slideLayouts/slideLayout443.xml"/><Relationship Id="rId25" Type="http://schemas.openxmlformats.org/officeDocument/2006/relationships/slideLayout" Target="../slideLayouts/slideLayout451.xml"/><Relationship Id="rId33" Type="http://schemas.openxmlformats.org/officeDocument/2006/relationships/slideLayout" Target="../slideLayouts/slideLayout459.xml"/><Relationship Id="rId38" Type="http://schemas.openxmlformats.org/officeDocument/2006/relationships/slideLayout" Target="../slideLayouts/slideLayout464.xml"/><Relationship Id="rId46" Type="http://schemas.openxmlformats.org/officeDocument/2006/relationships/slideLayout" Target="../slideLayouts/slideLayout472.xml"/><Relationship Id="rId59" Type="http://schemas.openxmlformats.org/officeDocument/2006/relationships/slideLayout" Target="../slideLayouts/slideLayout485.xml"/><Relationship Id="rId67" Type="http://schemas.openxmlformats.org/officeDocument/2006/relationships/slideLayout" Target="../slideLayouts/slideLayout493.xml"/><Relationship Id="rId20" Type="http://schemas.openxmlformats.org/officeDocument/2006/relationships/slideLayout" Target="../slideLayouts/slideLayout446.xml"/><Relationship Id="rId41" Type="http://schemas.openxmlformats.org/officeDocument/2006/relationships/slideLayout" Target="../slideLayouts/slideLayout467.xml"/><Relationship Id="rId54" Type="http://schemas.openxmlformats.org/officeDocument/2006/relationships/slideLayout" Target="../slideLayouts/slideLayout480.xml"/><Relationship Id="rId62" Type="http://schemas.openxmlformats.org/officeDocument/2006/relationships/slideLayout" Target="../slideLayouts/slideLayout488.xml"/><Relationship Id="rId70" Type="http://schemas.openxmlformats.org/officeDocument/2006/relationships/oleObject" Target="../embeddings/oleObject109.bin"/><Relationship Id="rId1" Type="http://schemas.openxmlformats.org/officeDocument/2006/relationships/slideLayout" Target="../slideLayouts/slideLayout427.xml"/><Relationship Id="rId6" Type="http://schemas.openxmlformats.org/officeDocument/2006/relationships/slideLayout" Target="../slideLayouts/slideLayout432.xml"/><Relationship Id="rId15" Type="http://schemas.openxmlformats.org/officeDocument/2006/relationships/slideLayout" Target="../slideLayouts/slideLayout441.xml"/><Relationship Id="rId23" Type="http://schemas.openxmlformats.org/officeDocument/2006/relationships/slideLayout" Target="../slideLayouts/slideLayout449.xml"/><Relationship Id="rId28" Type="http://schemas.openxmlformats.org/officeDocument/2006/relationships/slideLayout" Target="../slideLayouts/slideLayout454.xml"/><Relationship Id="rId36" Type="http://schemas.openxmlformats.org/officeDocument/2006/relationships/slideLayout" Target="../slideLayouts/slideLayout462.xml"/><Relationship Id="rId49" Type="http://schemas.openxmlformats.org/officeDocument/2006/relationships/slideLayout" Target="../slideLayouts/slideLayout475.xml"/><Relationship Id="rId57" Type="http://schemas.openxmlformats.org/officeDocument/2006/relationships/slideLayout" Target="../slideLayouts/slideLayout483.xml"/><Relationship Id="rId10" Type="http://schemas.openxmlformats.org/officeDocument/2006/relationships/slideLayout" Target="../slideLayouts/slideLayout436.xml"/><Relationship Id="rId31" Type="http://schemas.openxmlformats.org/officeDocument/2006/relationships/slideLayout" Target="../slideLayouts/slideLayout457.xml"/><Relationship Id="rId44" Type="http://schemas.openxmlformats.org/officeDocument/2006/relationships/slideLayout" Target="../slideLayouts/slideLayout470.xml"/><Relationship Id="rId52" Type="http://schemas.openxmlformats.org/officeDocument/2006/relationships/slideLayout" Target="../slideLayouts/slideLayout478.xml"/><Relationship Id="rId60" Type="http://schemas.openxmlformats.org/officeDocument/2006/relationships/slideLayout" Target="../slideLayouts/slideLayout486.xml"/><Relationship Id="rId65" Type="http://schemas.openxmlformats.org/officeDocument/2006/relationships/slideLayout" Target="../slideLayouts/slideLayout491.xml"/><Relationship Id="rId4" Type="http://schemas.openxmlformats.org/officeDocument/2006/relationships/slideLayout" Target="../slideLayouts/slideLayout430.xml"/><Relationship Id="rId9" Type="http://schemas.openxmlformats.org/officeDocument/2006/relationships/slideLayout" Target="../slideLayouts/slideLayout435.xml"/><Relationship Id="rId13" Type="http://schemas.openxmlformats.org/officeDocument/2006/relationships/slideLayout" Target="../slideLayouts/slideLayout439.xml"/><Relationship Id="rId18" Type="http://schemas.openxmlformats.org/officeDocument/2006/relationships/slideLayout" Target="../slideLayouts/slideLayout444.xml"/><Relationship Id="rId39" Type="http://schemas.openxmlformats.org/officeDocument/2006/relationships/slideLayout" Target="../slideLayouts/slideLayout465.xml"/><Relationship Id="rId34" Type="http://schemas.openxmlformats.org/officeDocument/2006/relationships/slideLayout" Target="../slideLayouts/slideLayout460.xml"/><Relationship Id="rId50" Type="http://schemas.openxmlformats.org/officeDocument/2006/relationships/slideLayout" Target="../slideLayouts/slideLayout476.xml"/><Relationship Id="rId55" Type="http://schemas.openxmlformats.org/officeDocument/2006/relationships/slideLayout" Target="../slideLayouts/slideLayout4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dkDnDiag">
          <a:fgClr>
            <a:schemeClr val="accent5">
              <a:lumMod val="40000"/>
              <a:lumOff val="60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7CBF87-0C28-4A4C-B232-64AA7B30A9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5C567A-0A96-4422-83C3-483AAEBD57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046110-FE49-4D21-83CD-0814035431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8A492D-143F-4BC9-B4E7-965B54B76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899613-B94B-4674-9FB2-749DB93525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0C68A2-2EC2-4D38-8FDE-9772B4695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343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24610404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1"/>
            <a:ext cx="10933350" cy="3166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543165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  <p:sldLayoutId id="2147484155" r:id="rId2"/>
    <p:sldLayoutId id="2147484156" r:id="rId3"/>
    <p:sldLayoutId id="2147484157" r:id="rId4"/>
    <p:sldLayoutId id="2147484158" r:id="rId5"/>
    <p:sldLayoutId id="2147484159" r:id="rId6"/>
    <p:sldLayoutId id="2147484160" r:id="rId7"/>
    <p:sldLayoutId id="2147484161" r:id="rId8"/>
    <p:sldLayoutId id="2147484162" r:id="rId9"/>
    <p:sldLayoutId id="2147484163" r:id="rId10"/>
    <p:sldLayoutId id="2147484164" r:id="rId11"/>
    <p:sldLayoutId id="2147484165" r:id="rId12"/>
    <p:sldLayoutId id="2147484166" r:id="rId13"/>
    <p:sldLayoutId id="2147484167" r:id="rId14"/>
    <p:sldLayoutId id="2147484168" r:id="rId15"/>
    <p:sldLayoutId id="2147484169" r:id="rId16"/>
    <p:sldLayoutId id="2147484170" r:id="rId17"/>
    <p:sldLayoutId id="2147484171" r:id="rId18"/>
    <p:sldLayoutId id="2147484172" r:id="rId19"/>
    <p:sldLayoutId id="2147484173" r:id="rId20"/>
    <p:sldLayoutId id="2147484174" r:id="rId21"/>
    <p:sldLayoutId id="2147484175" r:id="rId22"/>
    <p:sldLayoutId id="2147484176" r:id="rId23"/>
    <p:sldLayoutId id="2147484177" r:id="rId24"/>
    <p:sldLayoutId id="2147484178" r:id="rId25"/>
    <p:sldLayoutId id="2147484179" r:id="rId26"/>
    <p:sldLayoutId id="2147484180" r:id="rId27"/>
    <p:sldLayoutId id="2147484181" r:id="rId28"/>
    <p:sldLayoutId id="2147484182" r:id="rId29"/>
    <p:sldLayoutId id="2147484183" r:id="rId30"/>
    <p:sldLayoutId id="2147484184" r:id="rId31"/>
    <p:sldLayoutId id="2147484185" r:id="rId32"/>
    <p:sldLayoutId id="2147484186" r:id="rId33"/>
    <p:sldLayoutId id="2147484187" r:id="rId34"/>
    <p:sldLayoutId id="2147484188" r:id="rId35"/>
    <p:sldLayoutId id="2147484189" r:id="rId36"/>
    <p:sldLayoutId id="2147484190" r:id="rId37"/>
    <p:sldLayoutId id="2147484191" r:id="rId38"/>
    <p:sldLayoutId id="2147484192" r:id="rId39"/>
    <p:sldLayoutId id="2147484193" r:id="rId40"/>
    <p:sldLayoutId id="2147484194" r:id="rId41"/>
    <p:sldLayoutId id="2147484195" r:id="rId42"/>
    <p:sldLayoutId id="2147484196" r:id="rId43"/>
    <p:sldLayoutId id="2147484197" r:id="rId44"/>
    <p:sldLayoutId id="2147484198" r:id="rId45"/>
    <p:sldLayoutId id="2147484199" r:id="rId46"/>
    <p:sldLayoutId id="2147484200" r:id="rId47"/>
    <p:sldLayoutId id="2147484201" r:id="rId48"/>
    <p:sldLayoutId id="2147484202" r:id="rId49"/>
    <p:sldLayoutId id="2147484203" r:id="rId50"/>
    <p:sldLayoutId id="2147484204" r:id="rId51"/>
    <p:sldLayoutId id="2147484205" r:id="rId52"/>
    <p:sldLayoutId id="2147484206" r:id="rId53"/>
    <p:sldLayoutId id="2147484207" r:id="rId54"/>
    <p:sldLayoutId id="2147484208" r:id="rId55"/>
    <p:sldLayoutId id="2147484209" r:id="rId56"/>
    <p:sldLayoutId id="2147484210" r:id="rId57"/>
    <p:sldLayoutId id="2147484211" r:id="rId58"/>
    <p:sldLayoutId id="2147484212" r:id="rId59"/>
    <p:sldLayoutId id="2147484213" r:id="rId60"/>
    <p:sldLayoutId id="2147484214" r:id="rId61"/>
    <p:sldLayoutId id="2147484215" r:id="rId62"/>
    <p:sldLayoutId id="2147484216" r:id="rId63"/>
    <p:sldLayoutId id="2147484217" r:id="rId64"/>
    <p:sldLayoutId id="2147484218" r:id="rId65"/>
    <p:sldLayoutId id="2147484219" r:id="rId66"/>
    <p:sldLayoutId id="2147484220" r:id="rId67"/>
    <p:sldLayoutId id="2147484221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71057" rtl="0" eaLnBrk="1" latinLnBrk="0" hangingPunct="1">
        <a:lnSpc>
          <a:spcPct val="90000"/>
        </a:lnSpc>
        <a:spcBef>
          <a:spcPct val="0"/>
        </a:spcBef>
        <a:buNone/>
        <a:defRPr sz="2286" kern="1200">
          <a:solidFill>
            <a:srgbClr val="264796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871057" rtl="0" eaLnBrk="1" latinLnBrk="0" hangingPunct="1">
        <a:lnSpc>
          <a:spcPct val="110000"/>
        </a:lnSpc>
        <a:spcBef>
          <a:spcPts val="572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70919" indent="-164609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•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486969" indent="-157751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Trebuchet MS" panose="020B0603020202020204" pitchFamily="34" charset="0"/>
        <a:buChar char="–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71057" rtl="0" eaLnBrk="1" latinLnBrk="0" hangingPunct="1">
        <a:lnSpc>
          <a:spcPct val="110000"/>
        </a:lnSpc>
        <a:spcBef>
          <a:spcPts val="286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kern="120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57083" indent="-145176" algn="l" defTabSz="871057" rtl="0" eaLnBrk="1" latinLnBrk="0" hangingPunct="1">
        <a:lnSpc>
          <a:spcPct val="90000"/>
        </a:lnSpc>
        <a:spcBef>
          <a:spcPts val="0"/>
        </a:spcBef>
        <a:spcAft>
          <a:spcPts val="572"/>
        </a:spcAft>
        <a:buClr>
          <a:srgbClr val="264796"/>
        </a:buClr>
        <a:buFont typeface="Arial" panose="020B0604020202020204" pitchFamily="34" charset="0"/>
        <a:buChar char="•"/>
        <a:defRPr lang="en-US" sz="1524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4191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0"/>
        </a:spcAft>
        <a:buClr>
          <a:srgbClr val="264796"/>
        </a:buClr>
        <a:buFont typeface="Arial" panose="020B0604020202020204" pitchFamily="34" charset="0"/>
        <a:buChar char="​"/>
        <a:defRPr lang="en-US" sz="5144" kern="1200" baseline="0" smtClean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2286" kern="1200" baseline="0" dirty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1pPr>
      <a:lvl2pPr marL="435529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2pPr>
      <a:lvl3pPr marL="871057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3pPr>
      <a:lvl4pPr marL="1306586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4pPr>
      <a:lvl5pPr marL="1742115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5pPr>
      <a:lvl6pPr marL="2177644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6pPr>
      <a:lvl7pPr marL="2613172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7pPr>
      <a:lvl8pPr marL="3048701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8pPr>
      <a:lvl9pPr marL="348423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76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4074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209103870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1"/>
            <a:ext cx="10933350" cy="3166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027342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3" r:id="rId1"/>
    <p:sldLayoutId id="2147484224" r:id="rId2"/>
    <p:sldLayoutId id="2147484225" r:id="rId3"/>
    <p:sldLayoutId id="2147484226" r:id="rId4"/>
    <p:sldLayoutId id="2147484227" r:id="rId5"/>
    <p:sldLayoutId id="2147484228" r:id="rId6"/>
    <p:sldLayoutId id="2147484229" r:id="rId7"/>
    <p:sldLayoutId id="2147484230" r:id="rId8"/>
    <p:sldLayoutId id="2147484231" r:id="rId9"/>
    <p:sldLayoutId id="2147484232" r:id="rId10"/>
    <p:sldLayoutId id="2147484233" r:id="rId11"/>
    <p:sldLayoutId id="2147484234" r:id="rId12"/>
    <p:sldLayoutId id="2147484235" r:id="rId13"/>
    <p:sldLayoutId id="2147484236" r:id="rId14"/>
    <p:sldLayoutId id="2147484237" r:id="rId15"/>
    <p:sldLayoutId id="2147484238" r:id="rId16"/>
    <p:sldLayoutId id="2147484239" r:id="rId17"/>
    <p:sldLayoutId id="2147484240" r:id="rId18"/>
    <p:sldLayoutId id="2147484241" r:id="rId19"/>
    <p:sldLayoutId id="2147484242" r:id="rId20"/>
    <p:sldLayoutId id="2147484243" r:id="rId21"/>
    <p:sldLayoutId id="2147484244" r:id="rId22"/>
    <p:sldLayoutId id="2147484245" r:id="rId23"/>
    <p:sldLayoutId id="2147484246" r:id="rId24"/>
    <p:sldLayoutId id="2147484247" r:id="rId25"/>
    <p:sldLayoutId id="2147484248" r:id="rId26"/>
    <p:sldLayoutId id="2147484249" r:id="rId27"/>
    <p:sldLayoutId id="2147484250" r:id="rId28"/>
    <p:sldLayoutId id="2147484251" r:id="rId29"/>
    <p:sldLayoutId id="2147484252" r:id="rId30"/>
    <p:sldLayoutId id="2147484253" r:id="rId31"/>
    <p:sldLayoutId id="2147484254" r:id="rId32"/>
    <p:sldLayoutId id="2147484255" r:id="rId33"/>
    <p:sldLayoutId id="2147484256" r:id="rId34"/>
    <p:sldLayoutId id="2147484257" r:id="rId35"/>
    <p:sldLayoutId id="2147484258" r:id="rId36"/>
    <p:sldLayoutId id="2147484259" r:id="rId37"/>
    <p:sldLayoutId id="2147484260" r:id="rId38"/>
    <p:sldLayoutId id="2147484261" r:id="rId39"/>
    <p:sldLayoutId id="2147484262" r:id="rId40"/>
    <p:sldLayoutId id="2147484263" r:id="rId41"/>
    <p:sldLayoutId id="2147484264" r:id="rId42"/>
    <p:sldLayoutId id="2147484265" r:id="rId43"/>
    <p:sldLayoutId id="2147484266" r:id="rId44"/>
    <p:sldLayoutId id="2147484267" r:id="rId45"/>
    <p:sldLayoutId id="2147484268" r:id="rId46"/>
    <p:sldLayoutId id="2147484269" r:id="rId47"/>
    <p:sldLayoutId id="2147484270" r:id="rId48"/>
    <p:sldLayoutId id="2147484271" r:id="rId49"/>
    <p:sldLayoutId id="2147484272" r:id="rId50"/>
    <p:sldLayoutId id="2147484273" r:id="rId51"/>
    <p:sldLayoutId id="2147484274" r:id="rId52"/>
    <p:sldLayoutId id="2147484275" r:id="rId53"/>
    <p:sldLayoutId id="2147484276" r:id="rId54"/>
    <p:sldLayoutId id="2147484277" r:id="rId55"/>
    <p:sldLayoutId id="2147484278" r:id="rId56"/>
    <p:sldLayoutId id="2147484279" r:id="rId57"/>
    <p:sldLayoutId id="2147484280" r:id="rId58"/>
    <p:sldLayoutId id="2147484281" r:id="rId59"/>
    <p:sldLayoutId id="2147484282" r:id="rId60"/>
    <p:sldLayoutId id="2147484283" r:id="rId61"/>
    <p:sldLayoutId id="2147484284" r:id="rId62"/>
    <p:sldLayoutId id="2147484285" r:id="rId63"/>
    <p:sldLayoutId id="2147484286" r:id="rId64"/>
    <p:sldLayoutId id="2147484287" r:id="rId65"/>
    <p:sldLayoutId id="2147484288" r:id="rId66"/>
    <p:sldLayoutId id="2147484289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71057" rtl="0" eaLnBrk="1" latinLnBrk="0" hangingPunct="1">
        <a:lnSpc>
          <a:spcPct val="90000"/>
        </a:lnSpc>
        <a:spcBef>
          <a:spcPct val="0"/>
        </a:spcBef>
        <a:buNone/>
        <a:defRPr sz="2286" kern="1200">
          <a:solidFill>
            <a:srgbClr val="264796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871057" rtl="0" eaLnBrk="1" latinLnBrk="0" hangingPunct="1">
        <a:lnSpc>
          <a:spcPct val="110000"/>
        </a:lnSpc>
        <a:spcBef>
          <a:spcPts val="572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70919" indent="-164609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•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486969" indent="-157751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Trebuchet MS" panose="020B0603020202020204" pitchFamily="34" charset="0"/>
        <a:buChar char="–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71057" rtl="0" eaLnBrk="1" latinLnBrk="0" hangingPunct="1">
        <a:lnSpc>
          <a:spcPct val="110000"/>
        </a:lnSpc>
        <a:spcBef>
          <a:spcPts val="286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kern="120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57083" indent="-145176" algn="l" defTabSz="871057" rtl="0" eaLnBrk="1" latinLnBrk="0" hangingPunct="1">
        <a:lnSpc>
          <a:spcPct val="90000"/>
        </a:lnSpc>
        <a:spcBef>
          <a:spcPts val="0"/>
        </a:spcBef>
        <a:spcAft>
          <a:spcPts val="572"/>
        </a:spcAft>
        <a:buClr>
          <a:srgbClr val="264796"/>
        </a:buClr>
        <a:buFont typeface="Arial" panose="020B0604020202020204" pitchFamily="34" charset="0"/>
        <a:buChar char="•"/>
        <a:defRPr lang="en-US" sz="1524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4191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0"/>
        </a:spcAft>
        <a:buClr>
          <a:srgbClr val="264796"/>
        </a:buClr>
        <a:buFont typeface="Arial" panose="020B0604020202020204" pitchFamily="34" charset="0"/>
        <a:buChar char="​"/>
        <a:defRPr lang="en-US" sz="5144" kern="1200" baseline="0" smtClean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2286" kern="1200" baseline="0" dirty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1pPr>
      <a:lvl2pPr marL="435529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2pPr>
      <a:lvl3pPr marL="871057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3pPr>
      <a:lvl4pPr marL="1306586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4pPr>
      <a:lvl5pPr marL="1742115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5pPr>
      <a:lvl6pPr marL="2177644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6pPr>
      <a:lvl7pPr marL="2613172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7pPr>
      <a:lvl8pPr marL="3048701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8pPr>
      <a:lvl9pPr marL="348423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76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4074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3200" y="1209600"/>
            <a:ext cx="10185600" cy="4582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</p:txBody>
      </p:sp>
    </p:spTree>
    <p:extLst>
      <p:ext uri="{BB962C8B-B14F-4D97-AF65-F5344CB8AC3E}">
        <p14:creationId xmlns:p14="http://schemas.microsoft.com/office/powerpoint/2010/main" val="3955337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2" r:id="rId1"/>
    <p:sldLayoutId id="2147484293" r:id="rId2"/>
  </p:sldLayoutIdLst>
  <p:hf sldNum="0" hdr="0" ftr="0" dt="0"/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5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kern="1200">
          <a:solidFill>
            <a:schemeClr val="tx2"/>
          </a:solidFill>
          <a:latin typeface="+mn-lt"/>
          <a:ea typeface="+mn-ea"/>
          <a:cs typeface="+mn-cs"/>
        </a:defRPr>
      </a:lvl2pPr>
      <a:lvl3pPr marL="2844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>
          <a:solidFill>
            <a:schemeClr val="tx2"/>
          </a:solidFill>
          <a:latin typeface="+mn-lt"/>
          <a:ea typeface="+mn-ea"/>
          <a:cs typeface="+mn-cs"/>
        </a:defRPr>
      </a:lvl3pPr>
      <a:lvl4pPr marL="576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8244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98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13716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645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57">
          <p15:clr>
            <a:srgbClr val="F26B43"/>
          </p15:clr>
        </p15:guide>
        <p15:guide id="2" pos="627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763">
          <p15:clr>
            <a:srgbClr val="F26B43"/>
          </p15:clr>
        </p15:guide>
        <p15:guide id="5" orient="horz" pos="608">
          <p15:clr>
            <a:srgbClr val="F26B43"/>
          </p15:clr>
        </p15:guide>
        <p15:guide id="6" orient="horz" pos="272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A76807F-956B-4C0D-8D33-FBD5602AA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F409F0-AA52-4B38-9876-89929985AF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7BEEC0-B40F-4D39-A609-41F82EB500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6FDEFE-CDBA-47F3-989D-8DC0EBFA4BA6}" type="datetimeFigureOut">
              <a:rPr lang="en-US" smtClean="0"/>
              <a:t>25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EEB8E7-7BCD-480B-91D6-503CCFF5EF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F14642-8AF3-47CA-B889-C21A664FD1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905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6" r:id="rId1"/>
    <p:sldLayoutId id="2147484297" r:id="rId2"/>
    <p:sldLayoutId id="2147484298" r:id="rId3"/>
    <p:sldLayoutId id="2147484299" r:id="rId4"/>
    <p:sldLayoutId id="2147484300" r:id="rId5"/>
    <p:sldLayoutId id="2147484301" r:id="rId6"/>
    <p:sldLayoutId id="2147484302" r:id="rId7"/>
    <p:sldLayoutId id="2147484303" r:id="rId8"/>
    <p:sldLayoutId id="2147484304" r:id="rId9"/>
    <p:sldLayoutId id="2147484305" r:id="rId10"/>
    <p:sldLayoutId id="214748430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A76807F-956B-4C0D-8D33-FBD5602AA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F409F0-AA52-4B38-9876-89929985AF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7BEEC0-B40F-4D39-A609-41F82EB500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EEB8E7-7BCD-480B-91D6-503CCFF5EF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F14642-8AF3-47CA-B889-C21A664FD1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D01C43-5D05-433C-AD6C-00B5AB3F6C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681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8" r:id="rId1"/>
    <p:sldLayoutId id="2147484309" r:id="rId2"/>
    <p:sldLayoutId id="2147484310" r:id="rId3"/>
    <p:sldLayoutId id="2147484311" r:id="rId4"/>
    <p:sldLayoutId id="2147484312" r:id="rId5"/>
    <p:sldLayoutId id="2147484313" r:id="rId6"/>
    <p:sldLayoutId id="2147484314" r:id="rId7"/>
    <p:sldLayoutId id="2147484315" r:id="rId8"/>
    <p:sldLayoutId id="2147484316" r:id="rId9"/>
    <p:sldLayoutId id="2147484317" r:id="rId10"/>
    <p:sldLayoutId id="214748431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dkDnDiag">
          <a:fgClr>
            <a:schemeClr val="accent5">
              <a:lumMod val="40000"/>
              <a:lumOff val="60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3200" y="1209600"/>
            <a:ext cx="10185600" cy="4582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</p:txBody>
      </p:sp>
    </p:spTree>
    <p:extLst>
      <p:ext uri="{BB962C8B-B14F-4D97-AF65-F5344CB8AC3E}">
        <p14:creationId xmlns:p14="http://schemas.microsoft.com/office/powerpoint/2010/main" val="93136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</p:sldLayoutIdLst>
  <p:hf sldNum="0" hdr="0" ftr="0" dt="0"/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5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kern="1200">
          <a:solidFill>
            <a:schemeClr val="tx2"/>
          </a:solidFill>
          <a:latin typeface="+mn-lt"/>
          <a:ea typeface="+mn-ea"/>
          <a:cs typeface="+mn-cs"/>
        </a:defRPr>
      </a:lvl2pPr>
      <a:lvl3pPr marL="2844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>
          <a:solidFill>
            <a:schemeClr val="tx2"/>
          </a:solidFill>
          <a:latin typeface="+mn-lt"/>
          <a:ea typeface="+mn-ea"/>
          <a:cs typeface="+mn-cs"/>
        </a:defRPr>
      </a:lvl3pPr>
      <a:lvl4pPr marL="576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8244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98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13716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645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57">
          <p15:clr>
            <a:srgbClr val="F26B43"/>
          </p15:clr>
        </p15:guide>
        <p15:guide id="2" pos="627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763">
          <p15:clr>
            <a:srgbClr val="F26B43"/>
          </p15:clr>
        </p15:guide>
        <p15:guide id="5" orient="horz" pos="608">
          <p15:clr>
            <a:srgbClr val="F26B43"/>
          </p15:clr>
        </p15:guide>
        <p15:guide id="6" orient="horz" pos="27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3669091054"/>
              </p:ext>
            </p:extLst>
          </p:nvPr>
        </p:nvGraphicFramePr>
        <p:xfrm>
          <a:off x="159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9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8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5"/>
            <a:ext cx="10933350" cy="3166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443056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689" r:id="rId24"/>
    <p:sldLayoutId id="2147483690" r:id="rId25"/>
    <p:sldLayoutId id="2147483691" r:id="rId26"/>
    <p:sldLayoutId id="2147483692" r:id="rId27"/>
    <p:sldLayoutId id="2147483693" r:id="rId28"/>
    <p:sldLayoutId id="2147483694" r:id="rId29"/>
    <p:sldLayoutId id="2147483695" r:id="rId30"/>
    <p:sldLayoutId id="2147483696" r:id="rId31"/>
    <p:sldLayoutId id="2147483697" r:id="rId32"/>
    <p:sldLayoutId id="2147483698" r:id="rId33"/>
    <p:sldLayoutId id="2147483699" r:id="rId34"/>
    <p:sldLayoutId id="2147483700" r:id="rId35"/>
    <p:sldLayoutId id="2147483701" r:id="rId36"/>
    <p:sldLayoutId id="2147483702" r:id="rId37"/>
    <p:sldLayoutId id="2147483703" r:id="rId38"/>
    <p:sldLayoutId id="2147483704" r:id="rId39"/>
    <p:sldLayoutId id="2147483705" r:id="rId40"/>
    <p:sldLayoutId id="2147483706" r:id="rId41"/>
    <p:sldLayoutId id="2147483707" r:id="rId42"/>
    <p:sldLayoutId id="2147483708" r:id="rId43"/>
    <p:sldLayoutId id="2147483709" r:id="rId44"/>
    <p:sldLayoutId id="2147483710" r:id="rId45"/>
    <p:sldLayoutId id="2147483711" r:id="rId46"/>
    <p:sldLayoutId id="2147483712" r:id="rId47"/>
    <p:sldLayoutId id="2147483713" r:id="rId48"/>
    <p:sldLayoutId id="2147483714" r:id="rId49"/>
    <p:sldLayoutId id="2147483715" r:id="rId50"/>
    <p:sldLayoutId id="2147483716" r:id="rId51"/>
    <p:sldLayoutId id="2147483717" r:id="rId52"/>
    <p:sldLayoutId id="2147483718" r:id="rId53"/>
    <p:sldLayoutId id="2147483719" r:id="rId54"/>
    <p:sldLayoutId id="2147483720" r:id="rId55"/>
    <p:sldLayoutId id="2147483721" r:id="rId56"/>
    <p:sldLayoutId id="2147483722" r:id="rId57"/>
    <p:sldLayoutId id="2147483723" r:id="rId58"/>
    <p:sldLayoutId id="2147483724" r:id="rId59"/>
    <p:sldLayoutId id="2147483725" r:id="rId60"/>
    <p:sldLayoutId id="2147483726" r:id="rId61"/>
    <p:sldLayoutId id="2147483727" r:id="rId62"/>
    <p:sldLayoutId id="2147483728" r:id="rId63"/>
    <p:sldLayoutId id="2147483729" r:id="rId64"/>
    <p:sldLayoutId id="2147483730" r:id="rId65"/>
    <p:sldLayoutId id="2147483731" r:id="rId66"/>
    <p:sldLayoutId id="2147483732" r:id="rId67"/>
    <p:sldLayoutId id="2147483733" r:id="rId68"/>
    <p:sldLayoutId id="2147483734" r:id="rId6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71057" rtl="0" eaLnBrk="1" latinLnBrk="0" hangingPunct="1">
        <a:lnSpc>
          <a:spcPct val="90000"/>
        </a:lnSpc>
        <a:spcBef>
          <a:spcPct val="0"/>
        </a:spcBef>
        <a:buNone/>
        <a:defRPr sz="2286" kern="1200">
          <a:solidFill>
            <a:srgbClr val="264796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871057" rtl="0" eaLnBrk="1" latinLnBrk="0" hangingPunct="1">
        <a:lnSpc>
          <a:spcPct val="110000"/>
        </a:lnSpc>
        <a:spcBef>
          <a:spcPts val="572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70919" indent="-164609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•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486969" indent="-157751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Trebuchet MS" panose="020B0603020202020204" pitchFamily="34" charset="0"/>
        <a:buChar char="–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71057" rtl="0" eaLnBrk="1" latinLnBrk="0" hangingPunct="1">
        <a:lnSpc>
          <a:spcPct val="110000"/>
        </a:lnSpc>
        <a:spcBef>
          <a:spcPts val="286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kern="120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57083" indent="-145176" algn="l" defTabSz="871057" rtl="0" eaLnBrk="1" latinLnBrk="0" hangingPunct="1">
        <a:lnSpc>
          <a:spcPct val="90000"/>
        </a:lnSpc>
        <a:spcBef>
          <a:spcPts val="0"/>
        </a:spcBef>
        <a:spcAft>
          <a:spcPts val="572"/>
        </a:spcAft>
        <a:buClr>
          <a:srgbClr val="264796"/>
        </a:buClr>
        <a:buFont typeface="Arial" panose="020B0604020202020204" pitchFamily="34" charset="0"/>
        <a:buChar char="•"/>
        <a:defRPr lang="en-US" sz="1524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4191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0"/>
        </a:spcAft>
        <a:buClr>
          <a:srgbClr val="264796"/>
        </a:buClr>
        <a:buFont typeface="Arial" panose="020B0604020202020204" pitchFamily="34" charset="0"/>
        <a:buChar char="​"/>
        <a:defRPr lang="en-US" sz="5144" kern="1200" baseline="0" smtClean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2286" kern="1200" baseline="0" dirty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1pPr>
      <a:lvl2pPr marL="435529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2pPr>
      <a:lvl3pPr marL="871057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3pPr>
      <a:lvl4pPr marL="1306586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4pPr>
      <a:lvl5pPr marL="1742115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5pPr>
      <a:lvl6pPr marL="2177644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6pPr>
      <a:lvl7pPr marL="2613172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7pPr>
      <a:lvl8pPr marL="3048701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8pPr>
      <a:lvl9pPr marL="348423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76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407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255108391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1"/>
            <a:ext cx="10933350" cy="3166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445049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  <p:sldLayoutId id="2147483754" r:id="rId19"/>
    <p:sldLayoutId id="2147483755" r:id="rId20"/>
    <p:sldLayoutId id="2147483756" r:id="rId21"/>
    <p:sldLayoutId id="2147483757" r:id="rId22"/>
    <p:sldLayoutId id="2147483758" r:id="rId23"/>
    <p:sldLayoutId id="2147483759" r:id="rId24"/>
    <p:sldLayoutId id="2147483760" r:id="rId25"/>
    <p:sldLayoutId id="2147483761" r:id="rId26"/>
    <p:sldLayoutId id="2147483762" r:id="rId27"/>
    <p:sldLayoutId id="2147483763" r:id="rId28"/>
    <p:sldLayoutId id="2147483764" r:id="rId29"/>
    <p:sldLayoutId id="2147483765" r:id="rId30"/>
    <p:sldLayoutId id="2147483766" r:id="rId31"/>
    <p:sldLayoutId id="2147483767" r:id="rId32"/>
    <p:sldLayoutId id="2147483768" r:id="rId33"/>
    <p:sldLayoutId id="2147483769" r:id="rId34"/>
    <p:sldLayoutId id="2147483770" r:id="rId35"/>
    <p:sldLayoutId id="2147483771" r:id="rId36"/>
    <p:sldLayoutId id="2147483772" r:id="rId37"/>
    <p:sldLayoutId id="2147483773" r:id="rId38"/>
    <p:sldLayoutId id="2147483774" r:id="rId39"/>
    <p:sldLayoutId id="2147483775" r:id="rId40"/>
    <p:sldLayoutId id="2147483776" r:id="rId41"/>
    <p:sldLayoutId id="2147483777" r:id="rId42"/>
    <p:sldLayoutId id="2147483778" r:id="rId43"/>
    <p:sldLayoutId id="2147483779" r:id="rId44"/>
    <p:sldLayoutId id="2147483780" r:id="rId45"/>
    <p:sldLayoutId id="2147483781" r:id="rId46"/>
    <p:sldLayoutId id="2147483782" r:id="rId47"/>
    <p:sldLayoutId id="2147483783" r:id="rId48"/>
    <p:sldLayoutId id="2147483784" r:id="rId49"/>
    <p:sldLayoutId id="2147483785" r:id="rId50"/>
    <p:sldLayoutId id="2147483786" r:id="rId51"/>
    <p:sldLayoutId id="2147483787" r:id="rId52"/>
    <p:sldLayoutId id="2147483788" r:id="rId53"/>
    <p:sldLayoutId id="2147483789" r:id="rId54"/>
    <p:sldLayoutId id="2147483790" r:id="rId55"/>
    <p:sldLayoutId id="2147483791" r:id="rId56"/>
    <p:sldLayoutId id="2147483792" r:id="rId57"/>
    <p:sldLayoutId id="2147483793" r:id="rId58"/>
    <p:sldLayoutId id="2147483794" r:id="rId59"/>
    <p:sldLayoutId id="2147483795" r:id="rId60"/>
    <p:sldLayoutId id="2147483796" r:id="rId61"/>
    <p:sldLayoutId id="2147483797" r:id="rId62"/>
    <p:sldLayoutId id="2147483798" r:id="rId63"/>
    <p:sldLayoutId id="2147483799" r:id="rId64"/>
    <p:sldLayoutId id="2147483800" r:id="rId65"/>
    <p:sldLayoutId id="2147483801" r:id="rId66"/>
    <p:sldLayoutId id="2147483802" r:id="rId67"/>
    <p:sldLayoutId id="2147483803" r:id="rId68"/>
    <p:sldLayoutId id="2147483804" r:id="rId6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71057" rtl="0" eaLnBrk="1" latinLnBrk="0" hangingPunct="1">
        <a:lnSpc>
          <a:spcPct val="90000"/>
        </a:lnSpc>
        <a:spcBef>
          <a:spcPct val="0"/>
        </a:spcBef>
        <a:buNone/>
        <a:defRPr sz="2286" kern="1200">
          <a:solidFill>
            <a:srgbClr val="264796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871057" rtl="0" eaLnBrk="1" latinLnBrk="0" hangingPunct="1">
        <a:lnSpc>
          <a:spcPct val="110000"/>
        </a:lnSpc>
        <a:spcBef>
          <a:spcPts val="572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70919" indent="-164609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•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486969" indent="-157751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Trebuchet MS" panose="020B0603020202020204" pitchFamily="34" charset="0"/>
        <a:buChar char="–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71057" rtl="0" eaLnBrk="1" latinLnBrk="0" hangingPunct="1">
        <a:lnSpc>
          <a:spcPct val="110000"/>
        </a:lnSpc>
        <a:spcBef>
          <a:spcPts val="286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kern="120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57083" indent="-145176" algn="l" defTabSz="871057" rtl="0" eaLnBrk="1" latinLnBrk="0" hangingPunct="1">
        <a:lnSpc>
          <a:spcPct val="90000"/>
        </a:lnSpc>
        <a:spcBef>
          <a:spcPts val="0"/>
        </a:spcBef>
        <a:spcAft>
          <a:spcPts val="572"/>
        </a:spcAft>
        <a:buClr>
          <a:srgbClr val="264796"/>
        </a:buClr>
        <a:buFont typeface="Arial" panose="020B0604020202020204" pitchFamily="34" charset="0"/>
        <a:buChar char="•"/>
        <a:defRPr lang="en-US" sz="1524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4191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0"/>
        </a:spcAft>
        <a:buClr>
          <a:srgbClr val="264796"/>
        </a:buClr>
        <a:buFont typeface="Arial" panose="020B0604020202020204" pitchFamily="34" charset="0"/>
        <a:buChar char="​"/>
        <a:defRPr lang="en-US" sz="5144" kern="1200" baseline="0" smtClean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2286" kern="1200" baseline="0" dirty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1pPr>
      <a:lvl2pPr marL="435529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2pPr>
      <a:lvl3pPr marL="871057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3pPr>
      <a:lvl4pPr marL="1306586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4pPr>
      <a:lvl5pPr marL="1742115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5pPr>
      <a:lvl6pPr marL="2177644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6pPr>
      <a:lvl7pPr marL="2613172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7pPr>
      <a:lvl8pPr marL="3048701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8pPr>
      <a:lvl9pPr marL="348423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76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407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402327752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1"/>
            <a:ext cx="10933350" cy="3166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994208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  <p:sldLayoutId id="2147483824" r:id="rId19"/>
    <p:sldLayoutId id="2147483825" r:id="rId20"/>
    <p:sldLayoutId id="2147483826" r:id="rId21"/>
    <p:sldLayoutId id="2147483827" r:id="rId22"/>
    <p:sldLayoutId id="2147483828" r:id="rId23"/>
    <p:sldLayoutId id="2147483829" r:id="rId24"/>
    <p:sldLayoutId id="2147483830" r:id="rId25"/>
    <p:sldLayoutId id="2147483831" r:id="rId26"/>
    <p:sldLayoutId id="2147483832" r:id="rId27"/>
    <p:sldLayoutId id="2147483833" r:id="rId28"/>
    <p:sldLayoutId id="2147483834" r:id="rId29"/>
    <p:sldLayoutId id="2147483835" r:id="rId30"/>
    <p:sldLayoutId id="2147483836" r:id="rId31"/>
    <p:sldLayoutId id="2147483837" r:id="rId32"/>
    <p:sldLayoutId id="2147483838" r:id="rId33"/>
    <p:sldLayoutId id="2147483839" r:id="rId34"/>
    <p:sldLayoutId id="2147483840" r:id="rId35"/>
    <p:sldLayoutId id="2147483841" r:id="rId36"/>
    <p:sldLayoutId id="2147483842" r:id="rId37"/>
    <p:sldLayoutId id="2147483843" r:id="rId38"/>
    <p:sldLayoutId id="2147483844" r:id="rId39"/>
    <p:sldLayoutId id="2147483845" r:id="rId40"/>
    <p:sldLayoutId id="2147483846" r:id="rId41"/>
    <p:sldLayoutId id="2147483847" r:id="rId42"/>
    <p:sldLayoutId id="2147483848" r:id="rId43"/>
    <p:sldLayoutId id="2147483849" r:id="rId44"/>
    <p:sldLayoutId id="2147483850" r:id="rId45"/>
    <p:sldLayoutId id="2147483851" r:id="rId46"/>
    <p:sldLayoutId id="2147483852" r:id="rId47"/>
    <p:sldLayoutId id="2147483853" r:id="rId48"/>
    <p:sldLayoutId id="2147483854" r:id="rId49"/>
    <p:sldLayoutId id="2147483855" r:id="rId50"/>
    <p:sldLayoutId id="2147483856" r:id="rId51"/>
    <p:sldLayoutId id="2147483857" r:id="rId52"/>
    <p:sldLayoutId id="2147483858" r:id="rId53"/>
    <p:sldLayoutId id="2147483859" r:id="rId54"/>
    <p:sldLayoutId id="2147483860" r:id="rId55"/>
    <p:sldLayoutId id="2147483861" r:id="rId56"/>
    <p:sldLayoutId id="2147483862" r:id="rId57"/>
    <p:sldLayoutId id="2147483863" r:id="rId58"/>
    <p:sldLayoutId id="2147483864" r:id="rId59"/>
    <p:sldLayoutId id="2147483865" r:id="rId60"/>
    <p:sldLayoutId id="2147483866" r:id="rId61"/>
    <p:sldLayoutId id="2147483867" r:id="rId62"/>
    <p:sldLayoutId id="2147483868" r:id="rId63"/>
    <p:sldLayoutId id="2147483869" r:id="rId64"/>
    <p:sldLayoutId id="2147483870" r:id="rId65"/>
    <p:sldLayoutId id="2147483871" r:id="rId66"/>
    <p:sldLayoutId id="2147483872" r:id="rId67"/>
    <p:sldLayoutId id="2147483873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71057" rtl="0" eaLnBrk="1" latinLnBrk="0" hangingPunct="1">
        <a:lnSpc>
          <a:spcPct val="90000"/>
        </a:lnSpc>
        <a:spcBef>
          <a:spcPct val="0"/>
        </a:spcBef>
        <a:buNone/>
        <a:defRPr sz="2286" kern="1200">
          <a:solidFill>
            <a:srgbClr val="264796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871057" rtl="0" eaLnBrk="1" latinLnBrk="0" hangingPunct="1">
        <a:lnSpc>
          <a:spcPct val="110000"/>
        </a:lnSpc>
        <a:spcBef>
          <a:spcPts val="572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70919" indent="-164609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•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486969" indent="-157751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Trebuchet MS" panose="020B0603020202020204" pitchFamily="34" charset="0"/>
        <a:buChar char="–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71057" rtl="0" eaLnBrk="1" latinLnBrk="0" hangingPunct="1">
        <a:lnSpc>
          <a:spcPct val="110000"/>
        </a:lnSpc>
        <a:spcBef>
          <a:spcPts val="286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kern="120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57083" indent="-145176" algn="l" defTabSz="871057" rtl="0" eaLnBrk="1" latinLnBrk="0" hangingPunct="1">
        <a:lnSpc>
          <a:spcPct val="90000"/>
        </a:lnSpc>
        <a:spcBef>
          <a:spcPts val="0"/>
        </a:spcBef>
        <a:spcAft>
          <a:spcPts val="572"/>
        </a:spcAft>
        <a:buClr>
          <a:srgbClr val="264796"/>
        </a:buClr>
        <a:buFont typeface="Arial" panose="020B0604020202020204" pitchFamily="34" charset="0"/>
        <a:buChar char="•"/>
        <a:defRPr lang="en-US" sz="1524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4191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0"/>
        </a:spcAft>
        <a:buClr>
          <a:srgbClr val="264796"/>
        </a:buClr>
        <a:buFont typeface="Arial" panose="020B0604020202020204" pitchFamily="34" charset="0"/>
        <a:buChar char="​"/>
        <a:defRPr lang="en-US" sz="5144" kern="1200" baseline="0" smtClean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2286" kern="1200" baseline="0" dirty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1pPr>
      <a:lvl2pPr marL="435529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2pPr>
      <a:lvl3pPr marL="871057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3pPr>
      <a:lvl4pPr marL="1306586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4pPr>
      <a:lvl5pPr marL="1742115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5pPr>
      <a:lvl6pPr marL="2177644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6pPr>
      <a:lvl7pPr marL="2613172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7pPr>
      <a:lvl8pPr marL="3048701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8pPr>
      <a:lvl9pPr marL="348423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76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407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301253743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1"/>
            <a:ext cx="10933350" cy="3166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430061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6" r:id="rId12"/>
    <p:sldLayoutId id="2147483887" r:id="rId13"/>
    <p:sldLayoutId id="2147483888" r:id="rId14"/>
    <p:sldLayoutId id="2147483889" r:id="rId15"/>
    <p:sldLayoutId id="2147483890" r:id="rId16"/>
    <p:sldLayoutId id="2147483891" r:id="rId17"/>
    <p:sldLayoutId id="2147483892" r:id="rId18"/>
    <p:sldLayoutId id="2147483893" r:id="rId19"/>
    <p:sldLayoutId id="2147483894" r:id="rId20"/>
    <p:sldLayoutId id="2147483895" r:id="rId21"/>
    <p:sldLayoutId id="2147483896" r:id="rId22"/>
    <p:sldLayoutId id="2147483897" r:id="rId23"/>
    <p:sldLayoutId id="2147483898" r:id="rId24"/>
    <p:sldLayoutId id="2147483899" r:id="rId25"/>
    <p:sldLayoutId id="2147483900" r:id="rId26"/>
    <p:sldLayoutId id="2147483901" r:id="rId27"/>
    <p:sldLayoutId id="2147483902" r:id="rId28"/>
    <p:sldLayoutId id="2147483903" r:id="rId29"/>
    <p:sldLayoutId id="2147483904" r:id="rId30"/>
    <p:sldLayoutId id="2147483905" r:id="rId31"/>
    <p:sldLayoutId id="2147483906" r:id="rId32"/>
    <p:sldLayoutId id="2147483907" r:id="rId33"/>
    <p:sldLayoutId id="2147483908" r:id="rId34"/>
    <p:sldLayoutId id="2147483909" r:id="rId35"/>
    <p:sldLayoutId id="2147483910" r:id="rId36"/>
    <p:sldLayoutId id="2147483911" r:id="rId37"/>
    <p:sldLayoutId id="2147483912" r:id="rId38"/>
    <p:sldLayoutId id="2147483913" r:id="rId39"/>
    <p:sldLayoutId id="2147483914" r:id="rId40"/>
    <p:sldLayoutId id="2147483915" r:id="rId41"/>
    <p:sldLayoutId id="2147483916" r:id="rId42"/>
    <p:sldLayoutId id="2147483917" r:id="rId43"/>
    <p:sldLayoutId id="2147483918" r:id="rId44"/>
    <p:sldLayoutId id="2147483919" r:id="rId45"/>
    <p:sldLayoutId id="2147483920" r:id="rId46"/>
    <p:sldLayoutId id="2147483921" r:id="rId47"/>
    <p:sldLayoutId id="2147483922" r:id="rId48"/>
    <p:sldLayoutId id="2147483923" r:id="rId49"/>
    <p:sldLayoutId id="2147483924" r:id="rId50"/>
    <p:sldLayoutId id="2147483925" r:id="rId51"/>
    <p:sldLayoutId id="2147483926" r:id="rId52"/>
    <p:sldLayoutId id="2147483927" r:id="rId53"/>
    <p:sldLayoutId id="2147483928" r:id="rId54"/>
    <p:sldLayoutId id="2147483929" r:id="rId55"/>
    <p:sldLayoutId id="2147483930" r:id="rId56"/>
    <p:sldLayoutId id="2147483931" r:id="rId57"/>
    <p:sldLayoutId id="2147483932" r:id="rId58"/>
    <p:sldLayoutId id="2147483933" r:id="rId59"/>
    <p:sldLayoutId id="2147483934" r:id="rId60"/>
    <p:sldLayoutId id="2147483935" r:id="rId61"/>
    <p:sldLayoutId id="2147483936" r:id="rId62"/>
    <p:sldLayoutId id="2147483937" r:id="rId63"/>
    <p:sldLayoutId id="2147483938" r:id="rId64"/>
    <p:sldLayoutId id="2147483939" r:id="rId65"/>
    <p:sldLayoutId id="2147483940" r:id="rId66"/>
    <p:sldLayoutId id="2147483941" r:id="rId67"/>
    <p:sldLayoutId id="2147483942" r:id="rId68"/>
    <p:sldLayoutId id="2147483943" r:id="rId6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71057" rtl="0" eaLnBrk="1" latinLnBrk="0" hangingPunct="1">
        <a:lnSpc>
          <a:spcPct val="90000"/>
        </a:lnSpc>
        <a:spcBef>
          <a:spcPct val="0"/>
        </a:spcBef>
        <a:buNone/>
        <a:defRPr sz="2286" kern="1200">
          <a:solidFill>
            <a:srgbClr val="264796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871057" rtl="0" eaLnBrk="1" latinLnBrk="0" hangingPunct="1">
        <a:lnSpc>
          <a:spcPct val="110000"/>
        </a:lnSpc>
        <a:spcBef>
          <a:spcPts val="572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70919" indent="-164609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•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486969" indent="-157751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Trebuchet MS" panose="020B0603020202020204" pitchFamily="34" charset="0"/>
        <a:buChar char="–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71057" rtl="0" eaLnBrk="1" latinLnBrk="0" hangingPunct="1">
        <a:lnSpc>
          <a:spcPct val="110000"/>
        </a:lnSpc>
        <a:spcBef>
          <a:spcPts val="286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kern="120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57083" indent="-145176" algn="l" defTabSz="871057" rtl="0" eaLnBrk="1" latinLnBrk="0" hangingPunct="1">
        <a:lnSpc>
          <a:spcPct val="90000"/>
        </a:lnSpc>
        <a:spcBef>
          <a:spcPts val="0"/>
        </a:spcBef>
        <a:spcAft>
          <a:spcPts val="572"/>
        </a:spcAft>
        <a:buClr>
          <a:srgbClr val="264796"/>
        </a:buClr>
        <a:buFont typeface="Arial" panose="020B0604020202020204" pitchFamily="34" charset="0"/>
        <a:buChar char="•"/>
        <a:defRPr lang="en-US" sz="1524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4191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0"/>
        </a:spcAft>
        <a:buClr>
          <a:srgbClr val="264796"/>
        </a:buClr>
        <a:buFont typeface="Arial" panose="020B0604020202020204" pitchFamily="34" charset="0"/>
        <a:buChar char="​"/>
        <a:defRPr lang="en-US" sz="5144" kern="1200" baseline="0" smtClean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2286" kern="1200" baseline="0" dirty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1pPr>
      <a:lvl2pPr marL="435529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2pPr>
      <a:lvl3pPr marL="871057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3pPr>
      <a:lvl4pPr marL="1306586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4pPr>
      <a:lvl5pPr marL="1742115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5pPr>
      <a:lvl6pPr marL="2177644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6pPr>
      <a:lvl7pPr marL="2613172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7pPr>
      <a:lvl8pPr marL="3048701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8pPr>
      <a:lvl9pPr marL="348423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76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407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319899528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1"/>
            <a:ext cx="10933350" cy="3166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577693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56" r:id="rId12"/>
    <p:sldLayoutId id="2147483957" r:id="rId13"/>
    <p:sldLayoutId id="2147483958" r:id="rId14"/>
    <p:sldLayoutId id="2147483959" r:id="rId15"/>
    <p:sldLayoutId id="2147483960" r:id="rId16"/>
    <p:sldLayoutId id="2147483961" r:id="rId17"/>
    <p:sldLayoutId id="2147483962" r:id="rId18"/>
    <p:sldLayoutId id="2147483963" r:id="rId19"/>
    <p:sldLayoutId id="2147483964" r:id="rId20"/>
    <p:sldLayoutId id="2147483965" r:id="rId21"/>
    <p:sldLayoutId id="2147483966" r:id="rId22"/>
    <p:sldLayoutId id="2147483967" r:id="rId23"/>
    <p:sldLayoutId id="2147483968" r:id="rId24"/>
    <p:sldLayoutId id="2147483969" r:id="rId25"/>
    <p:sldLayoutId id="2147483970" r:id="rId26"/>
    <p:sldLayoutId id="2147483971" r:id="rId27"/>
    <p:sldLayoutId id="2147483972" r:id="rId28"/>
    <p:sldLayoutId id="2147483973" r:id="rId29"/>
    <p:sldLayoutId id="2147483974" r:id="rId30"/>
    <p:sldLayoutId id="2147483975" r:id="rId31"/>
    <p:sldLayoutId id="2147483976" r:id="rId32"/>
    <p:sldLayoutId id="2147483977" r:id="rId33"/>
    <p:sldLayoutId id="2147483978" r:id="rId34"/>
    <p:sldLayoutId id="2147483979" r:id="rId35"/>
    <p:sldLayoutId id="2147483980" r:id="rId36"/>
    <p:sldLayoutId id="2147483981" r:id="rId37"/>
    <p:sldLayoutId id="2147483982" r:id="rId38"/>
    <p:sldLayoutId id="2147483983" r:id="rId39"/>
    <p:sldLayoutId id="2147483984" r:id="rId40"/>
    <p:sldLayoutId id="2147483985" r:id="rId41"/>
    <p:sldLayoutId id="2147483986" r:id="rId42"/>
    <p:sldLayoutId id="2147483987" r:id="rId43"/>
    <p:sldLayoutId id="2147483988" r:id="rId44"/>
    <p:sldLayoutId id="2147483989" r:id="rId45"/>
    <p:sldLayoutId id="2147483990" r:id="rId46"/>
    <p:sldLayoutId id="2147483991" r:id="rId47"/>
    <p:sldLayoutId id="2147483992" r:id="rId48"/>
    <p:sldLayoutId id="2147483993" r:id="rId49"/>
    <p:sldLayoutId id="2147483994" r:id="rId50"/>
    <p:sldLayoutId id="2147483995" r:id="rId51"/>
    <p:sldLayoutId id="2147483996" r:id="rId52"/>
    <p:sldLayoutId id="2147483997" r:id="rId53"/>
    <p:sldLayoutId id="2147483998" r:id="rId54"/>
    <p:sldLayoutId id="2147483999" r:id="rId55"/>
    <p:sldLayoutId id="2147484000" r:id="rId56"/>
    <p:sldLayoutId id="2147484001" r:id="rId57"/>
    <p:sldLayoutId id="2147484002" r:id="rId58"/>
    <p:sldLayoutId id="2147484003" r:id="rId59"/>
    <p:sldLayoutId id="2147484004" r:id="rId60"/>
    <p:sldLayoutId id="2147484005" r:id="rId61"/>
    <p:sldLayoutId id="2147484006" r:id="rId62"/>
    <p:sldLayoutId id="2147484007" r:id="rId63"/>
    <p:sldLayoutId id="2147484008" r:id="rId64"/>
    <p:sldLayoutId id="2147484009" r:id="rId65"/>
    <p:sldLayoutId id="2147484010" r:id="rId66"/>
    <p:sldLayoutId id="2147484011" r:id="rId67"/>
    <p:sldLayoutId id="2147484012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71057" rtl="0" eaLnBrk="1" latinLnBrk="0" hangingPunct="1">
        <a:lnSpc>
          <a:spcPct val="90000"/>
        </a:lnSpc>
        <a:spcBef>
          <a:spcPct val="0"/>
        </a:spcBef>
        <a:buNone/>
        <a:defRPr sz="2286" kern="1200">
          <a:solidFill>
            <a:srgbClr val="264796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871057" rtl="0" eaLnBrk="1" latinLnBrk="0" hangingPunct="1">
        <a:lnSpc>
          <a:spcPct val="110000"/>
        </a:lnSpc>
        <a:spcBef>
          <a:spcPts val="572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70919" indent="-164609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•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486969" indent="-157751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Trebuchet MS" panose="020B0603020202020204" pitchFamily="34" charset="0"/>
        <a:buChar char="–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71057" rtl="0" eaLnBrk="1" latinLnBrk="0" hangingPunct="1">
        <a:lnSpc>
          <a:spcPct val="110000"/>
        </a:lnSpc>
        <a:spcBef>
          <a:spcPts val="286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kern="120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57083" indent="-145176" algn="l" defTabSz="871057" rtl="0" eaLnBrk="1" latinLnBrk="0" hangingPunct="1">
        <a:lnSpc>
          <a:spcPct val="90000"/>
        </a:lnSpc>
        <a:spcBef>
          <a:spcPts val="0"/>
        </a:spcBef>
        <a:spcAft>
          <a:spcPts val="572"/>
        </a:spcAft>
        <a:buClr>
          <a:srgbClr val="264796"/>
        </a:buClr>
        <a:buFont typeface="Arial" panose="020B0604020202020204" pitchFamily="34" charset="0"/>
        <a:buChar char="•"/>
        <a:defRPr lang="en-US" sz="1524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4191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0"/>
        </a:spcAft>
        <a:buClr>
          <a:srgbClr val="264796"/>
        </a:buClr>
        <a:buFont typeface="Arial" panose="020B0604020202020204" pitchFamily="34" charset="0"/>
        <a:buChar char="​"/>
        <a:defRPr lang="en-US" sz="5144" kern="1200" baseline="0" smtClean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2286" kern="1200" baseline="0" dirty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1pPr>
      <a:lvl2pPr marL="435529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2pPr>
      <a:lvl3pPr marL="871057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3pPr>
      <a:lvl4pPr marL="1306586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4pPr>
      <a:lvl5pPr marL="1742115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5pPr>
      <a:lvl6pPr marL="2177644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6pPr>
      <a:lvl7pPr marL="2613172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7pPr>
      <a:lvl8pPr marL="3048701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8pPr>
      <a:lvl9pPr marL="348423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76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4074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110375530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1"/>
            <a:ext cx="10933350" cy="3166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851988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6" r:id="rId2"/>
    <p:sldLayoutId id="2147484017" r:id="rId3"/>
    <p:sldLayoutId id="2147484018" r:id="rId4"/>
    <p:sldLayoutId id="2147484019" r:id="rId5"/>
    <p:sldLayoutId id="2147484020" r:id="rId6"/>
    <p:sldLayoutId id="2147484021" r:id="rId7"/>
    <p:sldLayoutId id="2147484022" r:id="rId8"/>
    <p:sldLayoutId id="2147484023" r:id="rId9"/>
    <p:sldLayoutId id="2147484024" r:id="rId10"/>
    <p:sldLayoutId id="2147484025" r:id="rId11"/>
    <p:sldLayoutId id="2147484026" r:id="rId12"/>
    <p:sldLayoutId id="2147484027" r:id="rId13"/>
    <p:sldLayoutId id="2147484028" r:id="rId14"/>
    <p:sldLayoutId id="2147484029" r:id="rId15"/>
    <p:sldLayoutId id="2147484030" r:id="rId16"/>
    <p:sldLayoutId id="2147484031" r:id="rId17"/>
    <p:sldLayoutId id="2147484032" r:id="rId18"/>
    <p:sldLayoutId id="2147484033" r:id="rId19"/>
    <p:sldLayoutId id="2147484034" r:id="rId20"/>
    <p:sldLayoutId id="2147484035" r:id="rId21"/>
    <p:sldLayoutId id="2147484036" r:id="rId22"/>
    <p:sldLayoutId id="2147484037" r:id="rId23"/>
    <p:sldLayoutId id="2147484038" r:id="rId24"/>
    <p:sldLayoutId id="2147484039" r:id="rId25"/>
    <p:sldLayoutId id="2147484040" r:id="rId26"/>
    <p:sldLayoutId id="2147484041" r:id="rId27"/>
    <p:sldLayoutId id="2147484042" r:id="rId28"/>
    <p:sldLayoutId id="2147484043" r:id="rId29"/>
    <p:sldLayoutId id="2147484044" r:id="rId30"/>
    <p:sldLayoutId id="2147484045" r:id="rId31"/>
    <p:sldLayoutId id="2147484046" r:id="rId32"/>
    <p:sldLayoutId id="2147484047" r:id="rId33"/>
    <p:sldLayoutId id="2147484048" r:id="rId34"/>
    <p:sldLayoutId id="2147484049" r:id="rId35"/>
    <p:sldLayoutId id="2147484050" r:id="rId36"/>
    <p:sldLayoutId id="2147484051" r:id="rId37"/>
    <p:sldLayoutId id="2147484052" r:id="rId38"/>
    <p:sldLayoutId id="2147484053" r:id="rId39"/>
    <p:sldLayoutId id="2147484054" r:id="rId40"/>
    <p:sldLayoutId id="2147484055" r:id="rId41"/>
    <p:sldLayoutId id="2147484056" r:id="rId42"/>
    <p:sldLayoutId id="2147484057" r:id="rId43"/>
    <p:sldLayoutId id="2147484058" r:id="rId44"/>
    <p:sldLayoutId id="2147484059" r:id="rId45"/>
    <p:sldLayoutId id="2147484060" r:id="rId46"/>
    <p:sldLayoutId id="2147484061" r:id="rId47"/>
    <p:sldLayoutId id="2147484062" r:id="rId48"/>
    <p:sldLayoutId id="2147484063" r:id="rId49"/>
    <p:sldLayoutId id="2147484064" r:id="rId50"/>
    <p:sldLayoutId id="2147484065" r:id="rId51"/>
    <p:sldLayoutId id="2147484066" r:id="rId52"/>
    <p:sldLayoutId id="2147484067" r:id="rId53"/>
    <p:sldLayoutId id="2147484068" r:id="rId54"/>
    <p:sldLayoutId id="2147484069" r:id="rId55"/>
    <p:sldLayoutId id="2147484070" r:id="rId56"/>
    <p:sldLayoutId id="2147484071" r:id="rId57"/>
    <p:sldLayoutId id="2147484072" r:id="rId58"/>
    <p:sldLayoutId id="2147484073" r:id="rId59"/>
    <p:sldLayoutId id="2147484074" r:id="rId60"/>
    <p:sldLayoutId id="2147484075" r:id="rId61"/>
    <p:sldLayoutId id="2147484076" r:id="rId62"/>
    <p:sldLayoutId id="2147484077" r:id="rId63"/>
    <p:sldLayoutId id="2147484078" r:id="rId64"/>
    <p:sldLayoutId id="2147484079" r:id="rId65"/>
    <p:sldLayoutId id="2147484080" r:id="rId66"/>
    <p:sldLayoutId id="2147484081" r:id="rId67"/>
    <p:sldLayoutId id="2147484082" r:id="rId68"/>
    <p:sldLayoutId id="2147484083" r:id="rId6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71057" rtl="0" eaLnBrk="1" latinLnBrk="0" hangingPunct="1">
        <a:lnSpc>
          <a:spcPct val="90000"/>
        </a:lnSpc>
        <a:spcBef>
          <a:spcPct val="0"/>
        </a:spcBef>
        <a:buNone/>
        <a:defRPr sz="2286" kern="1200">
          <a:solidFill>
            <a:srgbClr val="264796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871057" rtl="0" eaLnBrk="1" latinLnBrk="0" hangingPunct="1">
        <a:lnSpc>
          <a:spcPct val="110000"/>
        </a:lnSpc>
        <a:spcBef>
          <a:spcPts val="572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70919" indent="-164609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•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486969" indent="-157751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Trebuchet MS" panose="020B0603020202020204" pitchFamily="34" charset="0"/>
        <a:buChar char="–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71057" rtl="0" eaLnBrk="1" latinLnBrk="0" hangingPunct="1">
        <a:lnSpc>
          <a:spcPct val="110000"/>
        </a:lnSpc>
        <a:spcBef>
          <a:spcPts val="286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kern="120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57083" indent="-145176" algn="l" defTabSz="871057" rtl="0" eaLnBrk="1" latinLnBrk="0" hangingPunct="1">
        <a:lnSpc>
          <a:spcPct val="90000"/>
        </a:lnSpc>
        <a:spcBef>
          <a:spcPts val="0"/>
        </a:spcBef>
        <a:spcAft>
          <a:spcPts val="572"/>
        </a:spcAft>
        <a:buClr>
          <a:srgbClr val="264796"/>
        </a:buClr>
        <a:buFont typeface="Arial" panose="020B0604020202020204" pitchFamily="34" charset="0"/>
        <a:buChar char="•"/>
        <a:defRPr lang="en-US" sz="1524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4191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0"/>
        </a:spcAft>
        <a:buClr>
          <a:srgbClr val="264796"/>
        </a:buClr>
        <a:buFont typeface="Arial" panose="020B0604020202020204" pitchFamily="34" charset="0"/>
        <a:buChar char="​"/>
        <a:defRPr lang="en-US" sz="5144" kern="1200" baseline="0" smtClean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2286" kern="1200" baseline="0" dirty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1pPr>
      <a:lvl2pPr marL="435529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2pPr>
      <a:lvl3pPr marL="871057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3pPr>
      <a:lvl4pPr marL="1306586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4pPr>
      <a:lvl5pPr marL="1742115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5pPr>
      <a:lvl6pPr marL="2177644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6pPr>
      <a:lvl7pPr marL="2613172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7pPr>
      <a:lvl8pPr marL="3048701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8pPr>
      <a:lvl9pPr marL="348423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76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4074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346535988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12332"/>
            <a:ext cx="1482051" cy="14659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5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/>
              <a:t>Investors' Meet | Houston | Sept. 2022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12282"/>
            <a:ext cx="381000" cy="1466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710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5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710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1"/>
            <a:ext cx="10933350" cy="31664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296006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7" r:id="rId13"/>
    <p:sldLayoutId id="2147484098" r:id="rId14"/>
    <p:sldLayoutId id="2147484099" r:id="rId15"/>
    <p:sldLayoutId id="2147484100" r:id="rId16"/>
    <p:sldLayoutId id="2147484101" r:id="rId17"/>
    <p:sldLayoutId id="2147484102" r:id="rId18"/>
    <p:sldLayoutId id="2147484103" r:id="rId19"/>
    <p:sldLayoutId id="2147484104" r:id="rId20"/>
    <p:sldLayoutId id="2147484105" r:id="rId21"/>
    <p:sldLayoutId id="2147484106" r:id="rId22"/>
    <p:sldLayoutId id="2147484107" r:id="rId23"/>
    <p:sldLayoutId id="2147484108" r:id="rId24"/>
    <p:sldLayoutId id="2147484109" r:id="rId25"/>
    <p:sldLayoutId id="2147484110" r:id="rId26"/>
    <p:sldLayoutId id="2147484111" r:id="rId27"/>
    <p:sldLayoutId id="2147484112" r:id="rId28"/>
    <p:sldLayoutId id="2147484113" r:id="rId29"/>
    <p:sldLayoutId id="2147484114" r:id="rId30"/>
    <p:sldLayoutId id="2147484115" r:id="rId31"/>
    <p:sldLayoutId id="2147484116" r:id="rId32"/>
    <p:sldLayoutId id="2147484117" r:id="rId33"/>
    <p:sldLayoutId id="2147484118" r:id="rId34"/>
    <p:sldLayoutId id="2147484119" r:id="rId35"/>
    <p:sldLayoutId id="2147484120" r:id="rId36"/>
    <p:sldLayoutId id="2147484121" r:id="rId37"/>
    <p:sldLayoutId id="2147484122" r:id="rId38"/>
    <p:sldLayoutId id="2147484123" r:id="rId39"/>
    <p:sldLayoutId id="2147484124" r:id="rId40"/>
    <p:sldLayoutId id="2147484125" r:id="rId41"/>
    <p:sldLayoutId id="2147484126" r:id="rId42"/>
    <p:sldLayoutId id="2147484127" r:id="rId43"/>
    <p:sldLayoutId id="2147484128" r:id="rId44"/>
    <p:sldLayoutId id="2147484129" r:id="rId45"/>
    <p:sldLayoutId id="2147484130" r:id="rId46"/>
    <p:sldLayoutId id="2147484131" r:id="rId47"/>
    <p:sldLayoutId id="2147484132" r:id="rId48"/>
    <p:sldLayoutId id="2147484133" r:id="rId49"/>
    <p:sldLayoutId id="2147484134" r:id="rId50"/>
    <p:sldLayoutId id="2147484135" r:id="rId51"/>
    <p:sldLayoutId id="2147484136" r:id="rId52"/>
    <p:sldLayoutId id="2147484137" r:id="rId53"/>
    <p:sldLayoutId id="2147484138" r:id="rId54"/>
    <p:sldLayoutId id="2147484139" r:id="rId55"/>
    <p:sldLayoutId id="2147484140" r:id="rId56"/>
    <p:sldLayoutId id="2147484141" r:id="rId57"/>
    <p:sldLayoutId id="2147484142" r:id="rId58"/>
    <p:sldLayoutId id="2147484143" r:id="rId59"/>
    <p:sldLayoutId id="2147484144" r:id="rId60"/>
    <p:sldLayoutId id="2147484145" r:id="rId61"/>
    <p:sldLayoutId id="2147484146" r:id="rId62"/>
    <p:sldLayoutId id="2147484147" r:id="rId63"/>
    <p:sldLayoutId id="2147484148" r:id="rId64"/>
    <p:sldLayoutId id="2147484149" r:id="rId65"/>
    <p:sldLayoutId id="2147484150" r:id="rId66"/>
    <p:sldLayoutId id="2147484151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71057" rtl="0" eaLnBrk="1" latinLnBrk="0" hangingPunct="1">
        <a:lnSpc>
          <a:spcPct val="90000"/>
        </a:lnSpc>
        <a:spcBef>
          <a:spcPct val="0"/>
        </a:spcBef>
        <a:buNone/>
        <a:defRPr sz="2286" kern="1200">
          <a:solidFill>
            <a:srgbClr val="264796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871057" rtl="0" eaLnBrk="1" latinLnBrk="0" hangingPunct="1">
        <a:lnSpc>
          <a:spcPct val="110000"/>
        </a:lnSpc>
        <a:spcBef>
          <a:spcPts val="572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70919" indent="-164609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•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486969" indent="-157751" algn="l" defTabSz="871057" rtl="0" eaLnBrk="1" latinLnBrk="0" hangingPunct="1">
        <a:lnSpc>
          <a:spcPct val="90000"/>
        </a:lnSpc>
        <a:spcBef>
          <a:spcPts val="0"/>
        </a:spcBef>
        <a:spcAft>
          <a:spcPts val="286"/>
        </a:spcAft>
        <a:buClr>
          <a:srgbClr val="264796"/>
        </a:buClr>
        <a:buFont typeface="Trebuchet MS" panose="020B0603020202020204" pitchFamily="34" charset="0"/>
        <a:buChar char="–"/>
        <a:defRPr lang="en-US" sz="1143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71057" rtl="0" eaLnBrk="1" latinLnBrk="0" hangingPunct="1">
        <a:lnSpc>
          <a:spcPct val="110000"/>
        </a:lnSpc>
        <a:spcBef>
          <a:spcPts val="286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kern="120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286"/>
        </a:spcAft>
        <a:buClr>
          <a:srgbClr val="264796"/>
        </a:buClr>
        <a:buFont typeface="Arial" panose="020B0604020202020204" pitchFamily="34" charset="0"/>
        <a:buChar char="​"/>
        <a:defRPr lang="en-US" sz="1524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57083" indent="-145176" algn="l" defTabSz="871057" rtl="0" eaLnBrk="1" latinLnBrk="0" hangingPunct="1">
        <a:lnSpc>
          <a:spcPct val="90000"/>
        </a:lnSpc>
        <a:spcBef>
          <a:spcPts val="0"/>
        </a:spcBef>
        <a:spcAft>
          <a:spcPts val="572"/>
        </a:spcAft>
        <a:buClr>
          <a:srgbClr val="264796"/>
        </a:buClr>
        <a:buFont typeface="Arial" panose="020B0604020202020204" pitchFamily="34" charset="0"/>
        <a:buChar char="•"/>
        <a:defRPr lang="en-US" sz="1524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4191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71057" rtl="0" eaLnBrk="1" latinLnBrk="0" hangingPunct="1">
        <a:lnSpc>
          <a:spcPct val="90000"/>
        </a:lnSpc>
        <a:spcBef>
          <a:spcPts val="857"/>
        </a:spcBef>
        <a:spcAft>
          <a:spcPts val="0"/>
        </a:spcAft>
        <a:buClr>
          <a:srgbClr val="264796"/>
        </a:buClr>
        <a:buFont typeface="Arial" panose="020B0604020202020204" pitchFamily="34" charset="0"/>
        <a:buChar char="​"/>
        <a:defRPr lang="en-US" sz="5144" kern="1200" baseline="0" smtClean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71057" rtl="0" eaLnBrk="1" latinLnBrk="0" hangingPunct="1">
        <a:lnSpc>
          <a:spcPct val="100000"/>
        </a:lnSpc>
        <a:spcBef>
          <a:spcPts val="0"/>
        </a:spcBef>
        <a:spcAft>
          <a:spcPts val="857"/>
        </a:spcAft>
        <a:buClr>
          <a:srgbClr val="264796"/>
        </a:buClr>
        <a:buFont typeface="Arial" panose="020B0604020202020204" pitchFamily="34" charset="0"/>
        <a:buChar char="​"/>
        <a:defRPr lang="en-US" sz="2286" kern="1200" baseline="0" dirty="0">
          <a:solidFill>
            <a:srgbClr val="264796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1pPr>
      <a:lvl2pPr marL="435529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2pPr>
      <a:lvl3pPr marL="871057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3pPr>
      <a:lvl4pPr marL="1306586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4pPr>
      <a:lvl5pPr marL="1742115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5pPr>
      <a:lvl6pPr marL="2177644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6pPr>
      <a:lvl7pPr marL="2613172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7pPr>
      <a:lvl8pPr marL="3048701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8pPr>
      <a:lvl9pPr marL="3484230" algn="l" defTabSz="871057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76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40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mailto:facilitationoal@dghindia.gov.inj" TargetMode="External"/><Relationship Id="rId3" Type="http://schemas.openxmlformats.org/officeDocument/2006/relationships/notesSlide" Target="../notesSlides/notesSlide1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99.xml"/><Relationship Id="rId6" Type="http://schemas.openxmlformats.org/officeDocument/2006/relationships/image" Target="../media/image12.png"/><Relationship Id="rId11" Type="http://schemas.openxmlformats.org/officeDocument/2006/relationships/image" Target="../media/image14.png"/><Relationship Id="rId5" Type="http://schemas.openxmlformats.org/officeDocument/2006/relationships/image" Target="../media/image11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163.bin"/><Relationship Id="rId9" Type="http://schemas.openxmlformats.org/officeDocument/2006/relationships/hyperlink" Target="http://www.dghindia.gov.in/" TargetMode="Externa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220.xml"/><Relationship Id="rId1" Type="http://schemas.openxmlformats.org/officeDocument/2006/relationships/tags" Target="../tags/tag201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64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220.xml"/><Relationship Id="rId1" Type="http://schemas.openxmlformats.org/officeDocument/2006/relationships/tags" Target="../tags/tag202.xml"/><Relationship Id="rId6" Type="http://schemas.openxmlformats.org/officeDocument/2006/relationships/image" Target="../media/image25.emf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64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tags" Target="../tags/tag215.xml"/><Relationship Id="rId18" Type="http://schemas.openxmlformats.org/officeDocument/2006/relationships/tags" Target="../tags/tag220.xml"/><Relationship Id="rId26" Type="http://schemas.openxmlformats.org/officeDocument/2006/relationships/chart" Target="../charts/chart2.xml"/><Relationship Id="rId3" Type="http://schemas.openxmlformats.org/officeDocument/2006/relationships/tags" Target="../tags/tag205.xml"/><Relationship Id="rId21" Type="http://schemas.openxmlformats.org/officeDocument/2006/relationships/tags" Target="../tags/tag223.xml"/><Relationship Id="rId7" Type="http://schemas.openxmlformats.org/officeDocument/2006/relationships/tags" Target="../tags/tag209.xml"/><Relationship Id="rId12" Type="http://schemas.openxmlformats.org/officeDocument/2006/relationships/tags" Target="../tags/tag214.xml"/><Relationship Id="rId17" Type="http://schemas.openxmlformats.org/officeDocument/2006/relationships/tags" Target="../tags/tag219.xml"/><Relationship Id="rId25" Type="http://schemas.openxmlformats.org/officeDocument/2006/relationships/image" Target="../media/image19.emf"/><Relationship Id="rId2" Type="http://schemas.openxmlformats.org/officeDocument/2006/relationships/tags" Target="../tags/tag204.xml"/><Relationship Id="rId16" Type="http://schemas.openxmlformats.org/officeDocument/2006/relationships/tags" Target="../tags/tag218.xml"/><Relationship Id="rId20" Type="http://schemas.openxmlformats.org/officeDocument/2006/relationships/tags" Target="../tags/tag222.xml"/><Relationship Id="rId29" Type="http://schemas.openxmlformats.org/officeDocument/2006/relationships/image" Target="../media/image28.png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24" Type="http://schemas.openxmlformats.org/officeDocument/2006/relationships/oleObject" Target="../embeddings/oleObject165.bin"/><Relationship Id="rId5" Type="http://schemas.openxmlformats.org/officeDocument/2006/relationships/tags" Target="../tags/tag207.xml"/><Relationship Id="rId15" Type="http://schemas.openxmlformats.org/officeDocument/2006/relationships/tags" Target="../tags/tag217.xml"/><Relationship Id="rId23" Type="http://schemas.openxmlformats.org/officeDocument/2006/relationships/notesSlide" Target="../notesSlides/notesSlide5.xml"/><Relationship Id="rId28" Type="http://schemas.openxmlformats.org/officeDocument/2006/relationships/chart" Target="../charts/chart3.xml"/><Relationship Id="rId10" Type="http://schemas.openxmlformats.org/officeDocument/2006/relationships/tags" Target="../tags/tag212.xml"/><Relationship Id="rId19" Type="http://schemas.openxmlformats.org/officeDocument/2006/relationships/tags" Target="../tags/tag221.xml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4" Type="http://schemas.openxmlformats.org/officeDocument/2006/relationships/tags" Target="../tags/tag216.xml"/><Relationship Id="rId22" Type="http://schemas.openxmlformats.org/officeDocument/2006/relationships/slideLayout" Target="../slideLayouts/slideLayout83.xml"/><Relationship Id="rId27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9.emf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224.xml"/><Relationship Id="rId6" Type="http://schemas.openxmlformats.org/officeDocument/2006/relationships/oleObject" Target="../embeddings/oleObject166.bin"/><Relationship Id="rId5" Type="http://schemas.openxmlformats.org/officeDocument/2006/relationships/image" Target="../media/image29.emf"/><Relationship Id="rId4" Type="http://schemas.openxmlformats.org/officeDocument/2006/relationships/image" Target="../media/image28.png"/><Relationship Id="rId9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225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66.bin"/><Relationship Id="rId4" Type="http://schemas.openxmlformats.org/officeDocument/2006/relationships/image" Target="../media/image28.png"/><Relationship Id="rId9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226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66.bin"/><Relationship Id="rId4" Type="http://schemas.openxmlformats.org/officeDocument/2006/relationships/image" Target="../media/image28.png"/><Relationship Id="rId9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13" Type="http://schemas.openxmlformats.org/officeDocument/2006/relationships/tags" Target="../tags/tag239.xml"/><Relationship Id="rId18" Type="http://schemas.openxmlformats.org/officeDocument/2006/relationships/tags" Target="../tags/tag244.xml"/><Relationship Id="rId26" Type="http://schemas.openxmlformats.org/officeDocument/2006/relationships/chart" Target="../charts/chart4.xml"/><Relationship Id="rId3" Type="http://schemas.openxmlformats.org/officeDocument/2006/relationships/tags" Target="../tags/tag229.xml"/><Relationship Id="rId21" Type="http://schemas.openxmlformats.org/officeDocument/2006/relationships/tags" Target="../tags/tag247.xml"/><Relationship Id="rId7" Type="http://schemas.openxmlformats.org/officeDocument/2006/relationships/tags" Target="../tags/tag233.xml"/><Relationship Id="rId12" Type="http://schemas.openxmlformats.org/officeDocument/2006/relationships/tags" Target="../tags/tag238.xml"/><Relationship Id="rId17" Type="http://schemas.openxmlformats.org/officeDocument/2006/relationships/tags" Target="../tags/tag243.xml"/><Relationship Id="rId25" Type="http://schemas.openxmlformats.org/officeDocument/2006/relationships/image" Target="../media/image19.emf"/><Relationship Id="rId2" Type="http://schemas.openxmlformats.org/officeDocument/2006/relationships/tags" Target="../tags/tag228.xml"/><Relationship Id="rId16" Type="http://schemas.openxmlformats.org/officeDocument/2006/relationships/tags" Target="../tags/tag242.xml"/><Relationship Id="rId20" Type="http://schemas.openxmlformats.org/officeDocument/2006/relationships/tags" Target="../tags/tag246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tags" Target="../tags/tag237.xml"/><Relationship Id="rId24" Type="http://schemas.openxmlformats.org/officeDocument/2006/relationships/oleObject" Target="../embeddings/oleObject167.bin"/><Relationship Id="rId5" Type="http://schemas.openxmlformats.org/officeDocument/2006/relationships/tags" Target="../tags/tag231.xml"/><Relationship Id="rId15" Type="http://schemas.openxmlformats.org/officeDocument/2006/relationships/tags" Target="../tags/tag241.xml"/><Relationship Id="rId23" Type="http://schemas.openxmlformats.org/officeDocument/2006/relationships/notesSlide" Target="../notesSlides/notesSlide9.xml"/><Relationship Id="rId28" Type="http://schemas.openxmlformats.org/officeDocument/2006/relationships/image" Target="../media/image35.png"/><Relationship Id="rId10" Type="http://schemas.openxmlformats.org/officeDocument/2006/relationships/tags" Target="../tags/tag236.xml"/><Relationship Id="rId19" Type="http://schemas.openxmlformats.org/officeDocument/2006/relationships/tags" Target="../tags/tag245.xml"/><Relationship Id="rId4" Type="http://schemas.openxmlformats.org/officeDocument/2006/relationships/tags" Target="../tags/tag230.xml"/><Relationship Id="rId9" Type="http://schemas.openxmlformats.org/officeDocument/2006/relationships/tags" Target="../tags/tag235.xml"/><Relationship Id="rId14" Type="http://schemas.openxmlformats.org/officeDocument/2006/relationships/tags" Target="../tags/tag240.xml"/><Relationship Id="rId22" Type="http://schemas.openxmlformats.org/officeDocument/2006/relationships/slideLayout" Target="../slideLayouts/slideLayout152.xml"/><Relationship Id="rId27" Type="http://schemas.openxmlformats.org/officeDocument/2006/relationships/chart" Target="../charts/chart5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260.xml"/><Relationship Id="rId18" Type="http://schemas.openxmlformats.org/officeDocument/2006/relationships/tags" Target="../tags/tag265.xml"/><Relationship Id="rId26" Type="http://schemas.openxmlformats.org/officeDocument/2006/relationships/tags" Target="../tags/tag273.xml"/><Relationship Id="rId39" Type="http://schemas.openxmlformats.org/officeDocument/2006/relationships/tags" Target="../tags/tag286.xml"/><Relationship Id="rId21" Type="http://schemas.openxmlformats.org/officeDocument/2006/relationships/tags" Target="../tags/tag268.xml"/><Relationship Id="rId34" Type="http://schemas.openxmlformats.org/officeDocument/2006/relationships/tags" Target="../tags/tag281.xml"/><Relationship Id="rId42" Type="http://schemas.openxmlformats.org/officeDocument/2006/relationships/tags" Target="../tags/tag289.xml"/><Relationship Id="rId47" Type="http://schemas.openxmlformats.org/officeDocument/2006/relationships/oleObject" Target="../embeddings/oleObject168.bin"/><Relationship Id="rId50" Type="http://schemas.openxmlformats.org/officeDocument/2006/relationships/image" Target="../media/image36.png"/><Relationship Id="rId7" Type="http://schemas.openxmlformats.org/officeDocument/2006/relationships/tags" Target="../tags/tag254.xml"/><Relationship Id="rId2" Type="http://schemas.openxmlformats.org/officeDocument/2006/relationships/tags" Target="../tags/tag249.xml"/><Relationship Id="rId16" Type="http://schemas.openxmlformats.org/officeDocument/2006/relationships/tags" Target="../tags/tag263.xml"/><Relationship Id="rId29" Type="http://schemas.openxmlformats.org/officeDocument/2006/relationships/tags" Target="../tags/tag276.xml"/><Relationship Id="rId11" Type="http://schemas.openxmlformats.org/officeDocument/2006/relationships/tags" Target="../tags/tag258.xml"/><Relationship Id="rId24" Type="http://schemas.openxmlformats.org/officeDocument/2006/relationships/tags" Target="../tags/tag271.xml"/><Relationship Id="rId32" Type="http://schemas.openxmlformats.org/officeDocument/2006/relationships/tags" Target="../tags/tag279.xml"/><Relationship Id="rId37" Type="http://schemas.openxmlformats.org/officeDocument/2006/relationships/tags" Target="../tags/tag284.xml"/><Relationship Id="rId40" Type="http://schemas.openxmlformats.org/officeDocument/2006/relationships/tags" Target="../tags/tag287.xml"/><Relationship Id="rId45" Type="http://schemas.openxmlformats.org/officeDocument/2006/relationships/tags" Target="../tags/tag292.xml"/><Relationship Id="rId5" Type="http://schemas.openxmlformats.org/officeDocument/2006/relationships/tags" Target="../tags/tag252.xml"/><Relationship Id="rId15" Type="http://schemas.openxmlformats.org/officeDocument/2006/relationships/tags" Target="../tags/tag262.xml"/><Relationship Id="rId23" Type="http://schemas.openxmlformats.org/officeDocument/2006/relationships/tags" Target="../tags/tag270.xml"/><Relationship Id="rId28" Type="http://schemas.openxmlformats.org/officeDocument/2006/relationships/tags" Target="../tags/tag275.xml"/><Relationship Id="rId36" Type="http://schemas.openxmlformats.org/officeDocument/2006/relationships/tags" Target="../tags/tag283.xml"/><Relationship Id="rId49" Type="http://schemas.openxmlformats.org/officeDocument/2006/relationships/chart" Target="../charts/chart6.xml"/><Relationship Id="rId10" Type="http://schemas.openxmlformats.org/officeDocument/2006/relationships/tags" Target="../tags/tag257.xml"/><Relationship Id="rId19" Type="http://schemas.openxmlformats.org/officeDocument/2006/relationships/tags" Target="../tags/tag266.xml"/><Relationship Id="rId31" Type="http://schemas.openxmlformats.org/officeDocument/2006/relationships/tags" Target="../tags/tag278.xml"/><Relationship Id="rId44" Type="http://schemas.openxmlformats.org/officeDocument/2006/relationships/tags" Target="../tags/tag291.xml"/><Relationship Id="rId4" Type="http://schemas.openxmlformats.org/officeDocument/2006/relationships/tags" Target="../tags/tag251.xml"/><Relationship Id="rId9" Type="http://schemas.openxmlformats.org/officeDocument/2006/relationships/tags" Target="../tags/tag256.xml"/><Relationship Id="rId14" Type="http://schemas.openxmlformats.org/officeDocument/2006/relationships/tags" Target="../tags/tag261.xml"/><Relationship Id="rId22" Type="http://schemas.openxmlformats.org/officeDocument/2006/relationships/tags" Target="../tags/tag269.xml"/><Relationship Id="rId27" Type="http://schemas.openxmlformats.org/officeDocument/2006/relationships/tags" Target="../tags/tag274.xml"/><Relationship Id="rId30" Type="http://schemas.openxmlformats.org/officeDocument/2006/relationships/tags" Target="../tags/tag277.xml"/><Relationship Id="rId35" Type="http://schemas.openxmlformats.org/officeDocument/2006/relationships/tags" Target="../tags/tag282.xml"/><Relationship Id="rId43" Type="http://schemas.openxmlformats.org/officeDocument/2006/relationships/tags" Target="../tags/tag290.xml"/><Relationship Id="rId48" Type="http://schemas.openxmlformats.org/officeDocument/2006/relationships/image" Target="../media/image19.emf"/><Relationship Id="rId8" Type="http://schemas.openxmlformats.org/officeDocument/2006/relationships/tags" Target="../tags/tag255.xml"/><Relationship Id="rId51" Type="http://schemas.openxmlformats.org/officeDocument/2006/relationships/chart" Target="../charts/chart7.xml"/><Relationship Id="rId3" Type="http://schemas.openxmlformats.org/officeDocument/2006/relationships/tags" Target="../tags/tag250.xml"/><Relationship Id="rId12" Type="http://schemas.openxmlformats.org/officeDocument/2006/relationships/tags" Target="../tags/tag259.xml"/><Relationship Id="rId17" Type="http://schemas.openxmlformats.org/officeDocument/2006/relationships/tags" Target="../tags/tag264.xml"/><Relationship Id="rId25" Type="http://schemas.openxmlformats.org/officeDocument/2006/relationships/tags" Target="../tags/tag272.xml"/><Relationship Id="rId33" Type="http://schemas.openxmlformats.org/officeDocument/2006/relationships/tags" Target="../tags/tag280.xml"/><Relationship Id="rId38" Type="http://schemas.openxmlformats.org/officeDocument/2006/relationships/tags" Target="../tags/tag285.xml"/><Relationship Id="rId46" Type="http://schemas.openxmlformats.org/officeDocument/2006/relationships/slideLayout" Target="../slideLayouts/slideLayout289.xml"/><Relationship Id="rId20" Type="http://schemas.openxmlformats.org/officeDocument/2006/relationships/tags" Target="../tags/tag267.xml"/><Relationship Id="rId41" Type="http://schemas.openxmlformats.org/officeDocument/2006/relationships/tags" Target="../tags/tag288.xml"/><Relationship Id="rId1" Type="http://schemas.openxmlformats.org/officeDocument/2006/relationships/tags" Target="../tags/tag248.xml"/><Relationship Id="rId6" Type="http://schemas.openxmlformats.org/officeDocument/2006/relationships/tags" Target="../tags/tag25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305.xml"/><Relationship Id="rId18" Type="http://schemas.openxmlformats.org/officeDocument/2006/relationships/tags" Target="../tags/tag310.xml"/><Relationship Id="rId26" Type="http://schemas.openxmlformats.org/officeDocument/2006/relationships/tags" Target="../tags/tag318.xml"/><Relationship Id="rId39" Type="http://schemas.openxmlformats.org/officeDocument/2006/relationships/image" Target="../media/image19.emf"/><Relationship Id="rId21" Type="http://schemas.openxmlformats.org/officeDocument/2006/relationships/tags" Target="../tags/tag313.xml"/><Relationship Id="rId34" Type="http://schemas.openxmlformats.org/officeDocument/2006/relationships/tags" Target="../tags/tag326.xml"/><Relationship Id="rId42" Type="http://schemas.openxmlformats.org/officeDocument/2006/relationships/image" Target="../media/image37.png"/><Relationship Id="rId7" Type="http://schemas.openxmlformats.org/officeDocument/2006/relationships/tags" Target="../tags/tag299.xml"/><Relationship Id="rId2" Type="http://schemas.openxmlformats.org/officeDocument/2006/relationships/tags" Target="../tags/tag294.xml"/><Relationship Id="rId16" Type="http://schemas.openxmlformats.org/officeDocument/2006/relationships/tags" Target="../tags/tag308.xml"/><Relationship Id="rId20" Type="http://schemas.openxmlformats.org/officeDocument/2006/relationships/tags" Target="../tags/tag312.xml"/><Relationship Id="rId29" Type="http://schemas.openxmlformats.org/officeDocument/2006/relationships/tags" Target="../tags/tag321.xml"/><Relationship Id="rId41" Type="http://schemas.openxmlformats.org/officeDocument/2006/relationships/chart" Target="../charts/chart9.xml"/><Relationship Id="rId1" Type="http://schemas.openxmlformats.org/officeDocument/2006/relationships/tags" Target="../tags/tag293.xml"/><Relationship Id="rId6" Type="http://schemas.openxmlformats.org/officeDocument/2006/relationships/tags" Target="../tags/tag298.xml"/><Relationship Id="rId11" Type="http://schemas.openxmlformats.org/officeDocument/2006/relationships/tags" Target="../tags/tag303.xml"/><Relationship Id="rId24" Type="http://schemas.openxmlformats.org/officeDocument/2006/relationships/tags" Target="../tags/tag316.xml"/><Relationship Id="rId32" Type="http://schemas.openxmlformats.org/officeDocument/2006/relationships/tags" Target="../tags/tag324.xml"/><Relationship Id="rId37" Type="http://schemas.openxmlformats.org/officeDocument/2006/relationships/notesSlide" Target="../notesSlides/notesSlide10.xml"/><Relationship Id="rId40" Type="http://schemas.openxmlformats.org/officeDocument/2006/relationships/chart" Target="../charts/chart8.xml"/><Relationship Id="rId5" Type="http://schemas.openxmlformats.org/officeDocument/2006/relationships/tags" Target="../tags/tag297.xml"/><Relationship Id="rId15" Type="http://schemas.openxmlformats.org/officeDocument/2006/relationships/tags" Target="../tags/tag307.xml"/><Relationship Id="rId23" Type="http://schemas.openxmlformats.org/officeDocument/2006/relationships/tags" Target="../tags/tag315.xml"/><Relationship Id="rId28" Type="http://schemas.openxmlformats.org/officeDocument/2006/relationships/tags" Target="../tags/tag320.xml"/><Relationship Id="rId36" Type="http://schemas.openxmlformats.org/officeDocument/2006/relationships/slideLayout" Target="../slideLayouts/slideLayout426.xml"/><Relationship Id="rId10" Type="http://schemas.openxmlformats.org/officeDocument/2006/relationships/tags" Target="../tags/tag302.xml"/><Relationship Id="rId19" Type="http://schemas.openxmlformats.org/officeDocument/2006/relationships/tags" Target="../tags/tag311.xml"/><Relationship Id="rId31" Type="http://schemas.openxmlformats.org/officeDocument/2006/relationships/tags" Target="../tags/tag323.xml"/><Relationship Id="rId4" Type="http://schemas.openxmlformats.org/officeDocument/2006/relationships/tags" Target="../tags/tag296.xml"/><Relationship Id="rId9" Type="http://schemas.openxmlformats.org/officeDocument/2006/relationships/tags" Target="../tags/tag301.xml"/><Relationship Id="rId14" Type="http://schemas.openxmlformats.org/officeDocument/2006/relationships/tags" Target="../tags/tag306.xml"/><Relationship Id="rId22" Type="http://schemas.openxmlformats.org/officeDocument/2006/relationships/tags" Target="../tags/tag314.xml"/><Relationship Id="rId27" Type="http://schemas.openxmlformats.org/officeDocument/2006/relationships/tags" Target="../tags/tag319.xml"/><Relationship Id="rId30" Type="http://schemas.openxmlformats.org/officeDocument/2006/relationships/tags" Target="../tags/tag322.xml"/><Relationship Id="rId35" Type="http://schemas.openxmlformats.org/officeDocument/2006/relationships/tags" Target="../tags/tag327.xml"/><Relationship Id="rId43" Type="http://schemas.openxmlformats.org/officeDocument/2006/relationships/image" Target="../media/image38.jpg"/><Relationship Id="rId8" Type="http://schemas.openxmlformats.org/officeDocument/2006/relationships/tags" Target="../tags/tag300.xml"/><Relationship Id="rId3" Type="http://schemas.openxmlformats.org/officeDocument/2006/relationships/tags" Target="../tags/tag295.xml"/><Relationship Id="rId12" Type="http://schemas.openxmlformats.org/officeDocument/2006/relationships/tags" Target="../tags/tag304.xml"/><Relationship Id="rId17" Type="http://schemas.openxmlformats.org/officeDocument/2006/relationships/tags" Target="../tags/tag309.xml"/><Relationship Id="rId25" Type="http://schemas.openxmlformats.org/officeDocument/2006/relationships/tags" Target="../tags/tag317.xml"/><Relationship Id="rId33" Type="http://schemas.openxmlformats.org/officeDocument/2006/relationships/tags" Target="../tags/tag325.xml"/><Relationship Id="rId38" Type="http://schemas.openxmlformats.org/officeDocument/2006/relationships/oleObject" Target="../embeddings/oleObject169.bin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47.xml"/><Relationship Id="rId4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g"/><Relationship Id="rId3" Type="http://schemas.openxmlformats.org/officeDocument/2006/relationships/image" Target="../media/image39.png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426.xml"/><Relationship Id="rId1" Type="http://schemas.openxmlformats.org/officeDocument/2006/relationships/tags" Target="../tags/tag328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70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426.xml"/><Relationship Id="rId1" Type="http://schemas.openxmlformats.org/officeDocument/2006/relationships/tags" Target="../tags/tag329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70.bin"/><Relationship Id="rId9" Type="http://schemas.openxmlformats.org/officeDocument/2006/relationships/image" Target="../media/image38.jp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337.xml"/><Relationship Id="rId13" Type="http://schemas.openxmlformats.org/officeDocument/2006/relationships/tags" Target="../tags/tag342.xml"/><Relationship Id="rId18" Type="http://schemas.openxmlformats.org/officeDocument/2006/relationships/oleObject" Target="../embeddings/oleObject171.bin"/><Relationship Id="rId3" Type="http://schemas.openxmlformats.org/officeDocument/2006/relationships/tags" Target="../tags/tag332.xml"/><Relationship Id="rId21" Type="http://schemas.openxmlformats.org/officeDocument/2006/relationships/image" Target="../media/image43.png"/><Relationship Id="rId7" Type="http://schemas.openxmlformats.org/officeDocument/2006/relationships/tags" Target="../tags/tag336.xml"/><Relationship Id="rId12" Type="http://schemas.openxmlformats.org/officeDocument/2006/relationships/tags" Target="../tags/tag341.xml"/><Relationship Id="rId17" Type="http://schemas.openxmlformats.org/officeDocument/2006/relationships/slideLayout" Target="../slideLayouts/slideLayout561.xml"/><Relationship Id="rId2" Type="http://schemas.openxmlformats.org/officeDocument/2006/relationships/tags" Target="../tags/tag331.xml"/><Relationship Id="rId16" Type="http://schemas.openxmlformats.org/officeDocument/2006/relationships/tags" Target="../tags/tag345.xml"/><Relationship Id="rId20" Type="http://schemas.openxmlformats.org/officeDocument/2006/relationships/chart" Target="../charts/chart10.xml"/><Relationship Id="rId1" Type="http://schemas.openxmlformats.org/officeDocument/2006/relationships/tags" Target="../tags/tag330.xml"/><Relationship Id="rId6" Type="http://schemas.openxmlformats.org/officeDocument/2006/relationships/tags" Target="../tags/tag335.xml"/><Relationship Id="rId11" Type="http://schemas.openxmlformats.org/officeDocument/2006/relationships/tags" Target="../tags/tag340.xml"/><Relationship Id="rId5" Type="http://schemas.openxmlformats.org/officeDocument/2006/relationships/tags" Target="../tags/tag334.xml"/><Relationship Id="rId15" Type="http://schemas.openxmlformats.org/officeDocument/2006/relationships/tags" Target="../tags/tag344.xml"/><Relationship Id="rId10" Type="http://schemas.openxmlformats.org/officeDocument/2006/relationships/tags" Target="../tags/tag339.xml"/><Relationship Id="rId19" Type="http://schemas.openxmlformats.org/officeDocument/2006/relationships/image" Target="../media/image19.emf"/><Relationship Id="rId4" Type="http://schemas.openxmlformats.org/officeDocument/2006/relationships/tags" Target="../tags/tag333.xml"/><Relationship Id="rId9" Type="http://schemas.openxmlformats.org/officeDocument/2006/relationships/tags" Target="../tags/tag338.xml"/><Relationship Id="rId14" Type="http://schemas.openxmlformats.org/officeDocument/2006/relationships/tags" Target="../tags/tag343.xml"/><Relationship Id="rId22" Type="http://schemas.openxmlformats.org/officeDocument/2006/relationships/chart" Target="../charts/chart1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mailto:investOnG@gov.in" TargetMode="External"/><Relationship Id="rId3" Type="http://schemas.openxmlformats.org/officeDocument/2006/relationships/image" Target="../media/image44.png"/><Relationship Id="rId7" Type="http://schemas.openxmlformats.org/officeDocument/2006/relationships/image" Target="../media/image45.gif"/><Relationship Id="rId2" Type="http://schemas.openxmlformats.org/officeDocument/2006/relationships/hyperlink" Target="http://petroleum.nic.in/" TargetMode="External"/><Relationship Id="rId1" Type="http://schemas.openxmlformats.org/officeDocument/2006/relationships/slideLayout" Target="../slideLayouts/slideLayout643.xml"/><Relationship Id="rId6" Type="http://schemas.openxmlformats.org/officeDocument/2006/relationships/hyperlink" Target="mailto:indr@dghindia.gov.in" TargetMode="External"/><Relationship Id="rId5" Type="http://schemas.openxmlformats.org/officeDocument/2006/relationships/hyperlink" Target="https://www.ndrdgh.gov.in/NDR/" TargetMode="External"/><Relationship Id="rId4" Type="http://schemas.openxmlformats.org/officeDocument/2006/relationships/hyperlink" Target="http://online.dghindia.org/oalp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6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drdgh.gov.in/NDR/" TargetMode="External"/><Relationship Id="rId7" Type="http://schemas.openxmlformats.org/officeDocument/2006/relationships/hyperlink" Target="https://ebidding.dghindia.gov.in/" TargetMode="External"/><Relationship Id="rId2" Type="http://schemas.openxmlformats.org/officeDocument/2006/relationships/slide" Target="slide12.xml"/><Relationship Id="rId1" Type="http://schemas.openxmlformats.org/officeDocument/2006/relationships/slideLayout" Target="../slideLayouts/slideLayout561.xml"/><Relationship Id="rId6" Type="http://schemas.openxmlformats.org/officeDocument/2006/relationships/slide" Target="slide16.xml"/><Relationship Id="rId5" Type="http://schemas.openxmlformats.org/officeDocument/2006/relationships/hyperlink" Target="https://online.dghindia.org/oal" TargetMode="External"/><Relationship Id="rId4" Type="http://schemas.openxmlformats.org/officeDocument/2006/relationships/slide" Target="slide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3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220.xml"/><Relationship Id="rId1" Type="http://schemas.openxmlformats.org/officeDocument/2006/relationships/tags" Target="../tags/tag200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6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2F982F4A-EDEA-4319-BFA4-FF9F7B981B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2F982F4A-EDEA-4319-BFA4-FF9F7B981B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10A25599-28D2-4AC6-A81F-F1E914782BB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201" t="24581" r="4790" b="412"/>
          <a:stretch/>
        </p:blipFill>
        <p:spPr>
          <a:xfrm>
            <a:off x="0" y="0"/>
            <a:ext cx="12192000" cy="67437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53DA26D0-05B1-45B1-BEB9-B447CEBDDA2B}"/>
              </a:ext>
            </a:extLst>
          </p:cNvPr>
          <p:cNvSpPr/>
          <p:nvPr/>
        </p:nvSpPr>
        <p:spPr>
          <a:xfrm>
            <a:off x="-26125" y="4781554"/>
            <a:ext cx="12244250" cy="2046636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309BB2-11E7-498E-81F7-292AB4E443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3114" y="4919183"/>
            <a:ext cx="10636900" cy="619080"/>
          </a:xfrm>
        </p:spPr>
        <p:txBody>
          <a:bodyPr vert="horz" wrap="square" lIns="91440" anchor="ctr">
            <a:spAutoFit/>
          </a:bodyPr>
          <a:lstStyle/>
          <a:p>
            <a:pPr algn="ctr"/>
            <a:r>
              <a:rPr lang="en-US" sz="5400" b="1" dirty="0">
                <a:solidFill>
                  <a:schemeClr val="accent5"/>
                </a:solidFill>
                <a:latin typeface="times new roman" panose="02020603050405020304" pitchFamily="18" charset="0"/>
              </a:rPr>
              <a:t>E&amp;P Opportunities In India</a:t>
            </a:r>
            <a:endParaRPr lang="en-IN" sz="4000" dirty="0">
              <a:solidFill>
                <a:schemeClr val="accent5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83C2663-CB60-4E76-AE91-FAD2EBE4A636}"/>
              </a:ext>
            </a:extLst>
          </p:cNvPr>
          <p:cNvCxnSpPr/>
          <p:nvPr/>
        </p:nvCxnSpPr>
        <p:spPr>
          <a:xfrm>
            <a:off x="-18768" y="5915724"/>
            <a:ext cx="12244250" cy="0"/>
          </a:xfrm>
          <a:prstGeom prst="line">
            <a:avLst/>
          </a:prstGeom>
          <a:ln w="76200" cap="rnd"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F4C1F11-43B3-461C-AC6D-3159CFCF8513}"/>
              </a:ext>
            </a:extLst>
          </p:cNvPr>
          <p:cNvCxnSpPr>
            <a:cxnSpLocks/>
          </p:cNvCxnSpPr>
          <p:nvPr/>
        </p:nvCxnSpPr>
        <p:spPr>
          <a:xfrm>
            <a:off x="767220" y="6828191"/>
            <a:ext cx="10953136" cy="0"/>
          </a:xfrm>
          <a:prstGeom prst="line">
            <a:avLst/>
          </a:prstGeom>
          <a:ln w="1905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83B98DD5-299F-44A2-8349-C08AFF00ABA1}"/>
              </a:ext>
            </a:extLst>
          </p:cNvPr>
          <p:cNvSpPr txBox="1"/>
          <p:nvPr/>
        </p:nvSpPr>
        <p:spPr>
          <a:xfrm>
            <a:off x="3108036" y="6030146"/>
            <a:ext cx="5988339" cy="68357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500" dirty="0">
                <a:solidFill>
                  <a:schemeClr val="bg1"/>
                </a:solidFill>
              </a:rPr>
              <a:t>Email :- </a:t>
            </a:r>
            <a:r>
              <a:rPr lang="en-US" sz="1500" dirty="0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cilitationoal@dghindia.gov.in</a:t>
            </a:r>
            <a:r>
              <a:rPr lang="en-US" sz="1500" dirty="0">
                <a:solidFill>
                  <a:schemeClr val="bg1"/>
                </a:solidFill>
              </a:rPr>
              <a:t>      Web: </a:t>
            </a:r>
            <a:r>
              <a:rPr lang="en-US" sz="1500" dirty="0">
                <a:solidFill>
                  <a:schemeClr val="bg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ghindia.gov.in</a:t>
            </a:r>
            <a:endParaRPr lang="en-US" sz="15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500" dirty="0">
                <a:solidFill>
                  <a:schemeClr val="bg1"/>
                </a:solidFill>
              </a:rPr>
              <a:t> Phone- +91-120-2472000                           Fax- +91-1202472049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77FBE0D-BB69-4035-B4E5-117F01A54F4A}"/>
              </a:ext>
            </a:extLst>
          </p:cNvPr>
          <p:cNvGrpSpPr/>
          <p:nvPr/>
        </p:nvGrpSpPr>
        <p:grpSpPr>
          <a:xfrm>
            <a:off x="4743697" y="179200"/>
            <a:ext cx="2735078" cy="731520"/>
            <a:chOff x="4743697" y="153800"/>
            <a:chExt cx="2735078" cy="731520"/>
          </a:xfrm>
        </p:grpSpPr>
        <p:pic>
          <p:nvPicPr>
            <p:cNvPr id="27" name="Picture 4" descr="Ministry of Petroleum and Natural Gas - Wikipedia">
              <a:extLst>
                <a:ext uri="{FF2B5EF4-FFF2-40B4-BE49-F238E27FC236}">
                  <a16:creationId xmlns:a16="http://schemas.microsoft.com/office/drawing/2014/main" id="{DFF776A1-EE43-4E6F-92A8-A8F14685B9E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0521"/>
            <a:stretch/>
          </p:blipFill>
          <p:spPr bwMode="auto">
            <a:xfrm>
              <a:off x="4743697" y="153800"/>
              <a:ext cx="448095" cy="7315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EE9E689-7198-4B7C-BD2B-C9C8F7339C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155998" y="209219"/>
              <a:ext cx="2322777" cy="579170"/>
            </a:xfrm>
            <a:prstGeom prst="rect">
              <a:avLst/>
            </a:prstGeom>
          </p:spPr>
        </p:pic>
      </p:grpSp>
      <p:sp>
        <p:nvSpPr>
          <p:cNvPr id="6" name="Subtitle 5">
            <a:extLst>
              <a:ext uri="{FF2B5EF4-FFF2-40B4-BE49-F238E27FC236}">
                <a16:creationId xmlns:a16="http://schemas.microsoft.com/office/drawing/2014/main" id="{F7CC250D-7215-4E14-A62A-A8986F2110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83502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EFB967-B05F-44F5-A9D5-4058FBF90A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90518" y="164078"/>
          <a:ext cx="1513" cy="1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EFB967-B05F-44F5-A9D5-4058FBF90A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90518" y="164078"/>
                        <a:ext cx="1513" cy="15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TextBox 77">
            <a:extLst>
              <a:ext uri="{FF2B5EF4-FFF2-40B4-BE49-F238E27FC236}">
                <a16:creationId xmlns:a16="http://schemas.microsoft.com/office/drawing/2014/main" id="{0521B285-F4E0-4F14-AC97-FEB94C8A4DB1}"/>
              </a:ext>
            </a:extLst>
          </p:cNvPr>
          <p:cNvSpPr txBox="1"/>
          <p:nvPr/>
        </p:nvSpPr>
        <p:spPr>
          <a:xfrm>
            <a:off x="836394" y="694831"/>
            <a:ext cx="5102352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it-IT" sz="2286" b="1" dirty="0">
                <a:solidFill>
                  <a:srgbClr val="FFD700"/>
                </a:solidFill>
                <a:latin typeface="Trebuchet MS"/>
              </a:rPr>
              <a:t>Block Name: </a:t>
            </a:r>
            <a:r>
              <a:rPr lang="en-IN" sz="2200" b="1" dirty="0">
                <a:solidFill>
                  <a:prstClr val="white"/>
                </a:solidFill>
                <a:latin typeface="Trebuchet MS"/>
              </a:rPr>
              <a:t>AS-ONHP-2022/2</a:t>
            </a:r>
            <a:endParaRPr lang="it-IT" sz="2200" b="1" dirty="0">
              <a:solidFill>
                <a:prstClr val="white"/>
              </a:solidFill>
              <a:latin typeface="Trebuchet M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A2183F-9855-4500-8F5D-5A334EB21C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9059" y="4587447"/>
            <a:ext cx="5174185" cy="1325381"/>
          </a:xfrm>
          <a:prstGeom prst="rect">
            <a:avLst/>
          </a:prstGeom>
        </p:spPr>
      </p:pic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C3E0DB13-D812-41B4-A1D4-E8BBD399E0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2067946"/>
              </p:ext>
            </p:extLst>
          </p:nvPr>
        </p:nvGraphicFramePr>
        <p:xfrm>
          <a:off x="1027508" y="5007536"/>
          <a:ext cx="4284033" cy="6822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8011">
                  <a:extLst>
                    <a:ext uri="{9D8B030D-6E8A-4147-A177-3AD203B41FA5}">
                      <a16:colId xmlns:a16="http://schemas.microsoft.com/office/drawing/2014/main" val="1509538704"/>
                    </a:ext>
                  </a:extLst>
                </a:gridCol>
                <a:gridCol w="1428011">
                  <a:extLst>
                    <a:ext uri="{9D8B030D-6E8A-4147-A177-3AD203B41FA5}">
                      <a16:colId xmlns:a16="http://schemas.microsoft.com/office/drawing/2014/main" val="2097548571"/>
                    </a:ext>
                  </a:extLst>
                </a:gridCol>
                <a:gridCol w="1428011">
                  <a:extLst>
                    <a:ext uri="{9D8B030D-6E8A-4147-A177-3AD203B41FA5}">
                      <a16:colId xmlns:a16="http://schemas.microsoft.com/office/drawing/2014/main" val="1377973221"/>
                    </a:ext>
                  </a:extLst>
                </a:gridCol>
              </a:tblGrid>
              <a:tr h="33608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D (LKM)</a:t>
                      </a:r>
                      <a:endParaRPr lang="en-IN" sz="1600" dirty="0"/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D (SKM)</a:t>
                      </a:r>
                      <a:endParaRPr lang="en-IN" sz="1600" dirty="0"/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Exp. Well</a:t>
                      </a:r>
                      <a:endParaRPr lang="en-IN" sz="1600" dirty="0"/>
                    </a:p>
                  </a:txBody>
                  <a:tcPr marL="87105" marR="87105" marT="43552" marB="43552"/>
                </a:tc>
                <a:extLst>
                  <a:ext uri="{0D108BD9-81ED-4DB2-BD59-A6C34878D82A}">
                    <a16:rowId xmlns:a16="http://schemas.microsoft.com/office/drawing/2014/main" val="7503980"/>
                  </a:ext>
                </a:extLst>
              </a:tr>
              <a:tr h="336080">
                <a:tc>
                  <a:txBody>
                    <a:bodyPr/>
                    <a:lstStyle/>
                    <a:p>
                      <a:pPr algn="ctr"/>
                      <a:r>
                        <a:rPr lang="en-IN" sz="1700" b="1" dirty="0"/>
                        <a:t>0</a:t>
                      </a:r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700" b="1" dirty="0"/>
                        <a:t>0</a:t>
                      </a:r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700" b="1" dirty="0"/>
                        <a:t>1</a:t>
                      </a:r>
                    </a:p>
                  </a:txBody>
                  <a:tcPr marL="87105" marR="87105" marT="43552" marB="43552"/>
                </a:tc>
                <a:extLst>
                  <a:ext uri="{0D108BD9-81ED-4DB2-BD59-A6C34878D82A}">
                    <a16:rowId xmlns:a16="http://schemas.microsoft.com/office/drawing/2014/main" val="714915456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84E09A1E-C8EE-49B5-BE6F-36B8C775260B}"/>
              </a:ext>
            </a:extLst>
          </p:cNvPr>
          <p:cNvSpPr txBox="1"/>
          <p:nvPr/>
        </p:nvSpPr>
        <p:spPr>
          <a:xfrm>
            <a:off x="1270337" y="4647767"/>
            <a:ext cx="3437397" cy="2570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r>
              <a:rPr lang="it-IT" sz="1715" b="1" kern="0" dirty="0">
                <a:solidFill>
                  <a:srgbClr val="FFD700"/>
                </a:solidFill>
                <a:latin typeface="Trebuchet MS"/>
              </a:rPr>
              <a:t>Data Availability</a:t>
            </a:r>
            <a:endParaRPr lang="en-IN" sz="1715" dirty="0" err="1">
              <a:solidFill>
                <a:srgbClr val="000000"/>
              </a:solidFill>
              <a:latin typeface="Trebuchet M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192737C-ACCD-43D3-BFFA-994473027A37}"/>
              </a:ext>
            </a:extLst>
          </p:cNvPr>
          <p:cNvGrpSpPr/>
          <p:nvPr/>
        </p:nvGrpSpPr>
        <p:grpSpPr>
          <a:xfrm>
            <a:off x="1141808" y="1383200"/>
            <a:ext cx="3921193" cy="2974563"/>
            <a:chOff x="733016" y="986424"/>
            <a:chExt cx="4192945" cy="338388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42E0162-E103-419C-B28E-DBBC212FD7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941"/>
            <a:stretch/>
          </p:blipFill>
          <p:spPr>
            <a:xfrm>
              <a:off x="827868" y="986424"/>
              <a:ext cx="4098093" cy="3136986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5FAC84A8-82E8-428D-B188-5F7EC0C6FBA0}"/>
                </a:ext>
              </a:extLst>
            </p:cNvPr>
            <p:cNvSpPr txBox="1"/>
            <p:nvPr/>
          </p:nvSpPr>
          <p:spPr>
            <a:xfrm>
              <a:off x="733016" y="4048696"/>
              <a:ext cx="3695700" cy="32160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algn="just" defTabSz="871057">
                <a:lnSpc>
                  <a:spcPct val="115000"/>
                </a:lnSpc>
                <a:spcAft>
                  <a:spcPts val="953"/>
                </a:spcAft>
                <a:defRPr/>
              </a:pPr>
              <a:r>
                <a:rPr lang="en-US" sz="1143" b="1" dirty="0">
                  <a:solidFill>
                    <a:srgbClr val="000000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Conceptual model for the area</a:t>
              </a:r>
              <a:endParaRPr lang="en-IN" sz="1048" dirty="0">
                <a:solidFill>
                  <a:prstClr val="whit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Mangal" panose="02040503050203030202" pitchFamily="18" charset="0"/>
              </a:endParaRPr>
            </a:p>
          </p:txBody>
        </p: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213D9414-D689-4C43-AC91-2B721D7F737E}"/>
              </a:ext>
            </a:extLst>
          </p:cNvPr>
          <p:cNvSpPr txBox="1">
            <a:spLocks/>
          </p:cNvSpPr>
          <p:nvPr/>
        </p:nvSpPr>
        <p:spPr>
          <a:xfrm>
            <a:off x="6353833" y="695312"/>
            <a:ext cx="5102352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en-IN" sz="2200" b="1" dirty="0">
                <a:solidFill>
                  <a:srgbClr val="FFD700"/>
                </a:solidFill>
                <a:latin typeface="Trebuchet MS"/>
              </a:rPr>
              <a:t>Block Area: </a:t>
            </a:r>
            <a:r>
              <a:rPr lang="en-IN" sz="2200" b="1" dirty="0">
                <a:solidFill>
                  <a:prstClr val="white"/>
                </a:solidFill>
                <a:latin typeface="Trebuchet MS"/>
              </a:rPr>
              <a:t>784 SQ K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50E3AE8-96D6-40AC-B603-9F7E3072FA31}"/>
              </a:ext>
            </a:extLst>
          </p:cNvPr>
          <p:cNvSpPr txBox="1"/>
          <p:nvPr/>
        </p:nvSpPr>
        <p:spPr>
          <a:xfrm>
            <a:off x="6092896" y="4213505"/>
            <a:ext cx="5622435" cy="234428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txBody>
          <a:bodyPr wrap="square" lIns="0" tIns="91440" rIns="91440" bIns="91440" anchor="ctr">
            <a:noAutofit/>
          </a:bodyPr>
          <a:lstStyle/>
          <a:p>
            <a:pPr marL="102881" lvl="1" algn="ctr" defTabSz="871057">
              <a:spcBef>
                <a:spcPts val="191"/>
              </a:spcBef>
              <a:spcAft>
                <a:spcPts val="191"/>
              </a:spcAft>
              <a:buClr>
                <a:srgbClr val="264796"/>
              </a:buClr>
              <a:defRPr/>
            </a:pPr>
            <a:r>
              <a:rPr lang="en-US" sz="1524" b="1" dirty="0">
                <a:solidFill>
                  <a:srgbClr val="2647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1715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troleum System:</a:t>
            </a:r>
            <a:endParaRPr lang="en-IN" sz="152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02881" algn="just" defTabSz="871057">
              <a:lnSpc>
                <a:spcPct val="115000"/>
              </a:lnSpc>
              <a:spcBef>
                <a:spcPts val="191"/>
              </a:spcBef>
              <a:spcAft>
                <a:spcPts val="191"/>
              </a:spcAft>
              <a:defRPr/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ource rock:- 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opili, Sylhet and Tura formations</a:t>
            </a:r>
          </a:p>
          <a:p>
            <a:pPr marL="102881" algn="just" defTabSz="871057">
              <a:lnSpc>
                <a:spcPct val="115000"/>
              </a:lnSpc>
              <a:spcBef>
                <a:spcPts val="191"/>
              </a:spcBef>
              <a:spcAft>
                <a:spcPts val="191"/>
              </a:spcAft>
              <a:defRPr/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servoir:- 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e sandstone reservoirs within Tura, Sylhet, </a:t>
            </a:r>
            <a:r>
              <a:rPr lang="en-US" sz="133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opili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en-US" sz="133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arail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and </a:t>
            </a:r>
            <a:r>
              <a:rPr lang="en-US" sz="133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huban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formations are probably sheet to discrete lenticular bodies</a:t>
            </a:r>
            <a:endParaRPr lang="en-IN" sz="133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02881" algn="just" defTabSz="871057">
              <a:lnSpc>
                <a:spcPct val="115000"/>
              </a:lnSpc>
              <a:spcBef>
                <a:spcPts val="191"/>
              </a:spcBef>
              <a:spcAft>
                <a:spcPts val="191"/>
              </a:spcAft>
              <a:defRPr/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trapment mechanism:- 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ructural trap </a:t>
            </a:r>
          </a:p>
          <a:p>
            <a:pPr marL="102881" algn="just" defTabSz="871057">
              <a:lnSpc>
                <a:spcPct val="115000"/>
              </a:lnSpc>
              <a:spcBef>
                <a:spcPts val="191"/>
              </a:spcBef>
              <a:spcAft>
                <a:spcPts val="191"/>
              </a:spcAft>
              <a:defRPr/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saged Petroleum system: 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troleum system envisaged are (</a:t>
            </a:r>
            <a:r>
              <a:rPr lang="en-IN" sz="1334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IN" sz="1334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leocene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Eocene: Tura- Sylhet- </a:t>
            </a:r>
            <a:r>
              <a:rPr lang="en-IN" sz="1334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pili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ii) Oligo-Miocene Play: </a:t>
            </a:r>
            <a:r>
              <a:rPr lang="en-IN" sz="1334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ail-Bhuban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lay</a:t>
            </a:r>
            <a:endParaRPr lang="en-IN" sz="152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B144D26-435E-49FF-B7B2-02C5F557FB71}"/>
              </a:ext>
            </a:extLst>
          </p:cNvPr>
          <p:cNvSpPr txBox="1"/>
          <p:nvPr/>
        </p:nvSpPr>
        <p:spPr>
          <a:xfrm>
            <a:off x="836394" y="6099785"/>
            <a:ext cx="4806742" cy="35881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835" algn="just" defTabSz="871057">
              <a:lnSpc>
                <a:spcPct val="115000"/>
              </a:lnSpc>
              <a:spcAft>
                <a:spcPts val="953"/>
              </a:spcAft>
            </a:pPr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cs typeface="Mangal" panose="02040503050203030202" pitchFamily="18" charset="0"/>
              </a:rPr>
              <a:t>Target plays: </a:t>
            </a:r>
            <a:r>
              <a:rPr lang="en-IN" sz="1600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aleocene</a:t>
            </a:r>
            <a:r>
              <a:rPr lang="en-IN" sz="16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&amp; Oligo-Miocene sequences</a:t>
            </a:r>
            <a:endParaRPr lang="en-IN" sz="1600" dirty="0">
              <a:solidFill>
                <a:srgbClr val="000000"/>
              </a:solidFill>
              <a:latin typeface="Calibri" panose="020F0502020204030204" pitchFamily="34" charset="0"/>
              <a:cs typeface="Mangal" panose="02040503050203030202" pitchFamily="18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C20BEE5-17B7-4B25-A4C1-051759C93C56}"/>
              </a:ext>
            </a:extLst>
          </p:cNvPr>
          <p:cNvGrpSpPr/>
          <p:nvPr/>
        </p:nvGrpSpPr>
        <p:grpSpPr>
          <a:xfrm>
            <a:off x="6879048" y="1424050"/>
            <a:ext cx="4011642" cy="2506890"/>
            <a:chOff x="6879048" y="1502431"/>
            <a:chExt cx="4011642" cy="2506890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4D294F22-7C34-411A-B6BA-47FCF7C17D63}"/>
                </a:ext>
              </a:extLst>
            </p:cNvPr>
            <p:cNvGrpSpPr/>
            <p:nvPr/>
          </p:nvGrpSpPr>
          <p:grpSpPr>
            <a:xfrm>
              <a:off x="6879048" y="1502431"/>
              <a:ext cx="4011642" cy="2506890"/>
              <a:chOff x="6507437" y="1038601"/>
              <a:chExt cx="4524357" cy="2874631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4DFE86DA-B4DB-48AE-ABB2-0209A94C15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507437" y="1038601"/>
                <a:ext cx="4524357" cy="2874631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EF88FD63-291D-4471-B207-92D1F1CD6F36}"/>
                  </a:ext>
                </a:extLst>
              </p:cNvPr>
              <p:cNvSpPr txBox="1"/>
              <p:nvPr/>
            </p:nvSpPr>
            <p:spPr>
              <a:xfrm>
                <a:off x="9101625" y="3475894"/>
                <a:ext cx="916310" cy="324177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>
                <a:spAutoFit/>
              </a:bodyPr>
              <a:lstStyle/>
              <a:p>
                <a:pPr algn="just" defTabSz="871057">
                  <a:lnSpc>
                    <a:spcPct val="115000"/>
                  </a:lnSpc>
                  <a:spcAft>
                    <a:spcPts val="953"/>
                  </a:spcAft>
                  <a:defRPr/>
                </a:pPr>
                <a:r>
                  <a:rPr lang="en-IN" sz="1143" b="1" dirty="0">
                    <a:solidFill>
                      <a:srgbClr val="000000"/>
                    </a:solidFill>
                    <a:latin typeface="Calibri" panose="020F0502020204030204" pitchFamily="34" charset="0"/>
                    <a:ea typeface="Times New Roman" panose="02020603050405020304" pitchFamily="18" charset="0"/>
                    <a:cs typeface="Calibri" panose="020F0502020204030204" pitchFamily="34" charset="0"/>
                  </a:rPr>
                  <a:t>Base  Map</a:t>
                </a:r>
                <a:endParaRPr lang="en-IN" sz="1048" dirty="0">
                  <a:solidFill>
                    <a:prstClr val="white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Mangal" panose="02040503050203030202" pitchFamily="18" charset="0"/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EAA73A6-0DF8-4B28-83E4-16C98CD505EC}"/>
                </a:ext>
              </a:extLst>
            </p:cNvPr>
            <p:cNvGrpSpPr/>
            <p:nvPr/>
          </p:nvGrpSpPr>
          <p:grpSpPr>
            <a:xfrm>
              <a:off x="8180056" y="1680018"/>
              <a:ext cx="1363994" cy="263188"/>
              <a:chOff x="7840416" y="3784138"/>
              <a:chExt cx="613022" cy="109537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50014517-7481-4378-A65A-419DE6E4C367}"/>
                  </a:ext>
                </a:extLst>
              </p:cNvPr>
              <p:cNvSpPr/>
              <p:nvPr/>
            </p:nvSpPr>
            <p:spPr>
              <a:xfrm>
                <a:off x="7840416" y="3784138"/>
                <a:ext cx="613022" cy="109537"/>
              </a:xfrm>
              <a:prstGeom prst="rect">
                <a:avLst/>
              </a:prstGeom>
              <a:solidFill>
                <a:srgbClr val="FFFF99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4560965-2733-47F5-8EA5-FFDA7F300755}"/>
                  </a:ext>
                </a:extLst>
              </p:cNvPr>
              <p:cNvSpPr txBox="1"/>
              <p:nvPr/>
            </p:nvSpPr>
            <p:spPr>
              <a:xfrm>
                <a:off x="7901210" y="3806564"/>
                <a:ext cx="490156" cy="6725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050" b="1" dirty="0">
                    <a:solidFill>
                      <a:schemeClr val="accent1">
                        <a:lumMod val="75000"/>
                        <a:lumOff val="25000"/>
                      </a:schemeClr>
                    </a:solidFill>
                  </a:rPr>
                  <a:t>AS-ONHP-2022/2</a:t>
                </a:r>
              </a:p>
            </p:txBody>
          </p:sp>
        </p:grp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361E885-2D8D-477F-BFF3-BF2FEAFEA794}"/>
              </a:ext>
            </a:extLst>
          </p:cNvPr>
          <p:cNvCxnSpPr/>
          <p:nvPr/>
        </p:nvCxnSpPr>
        <p:spPr>
          <a:xfrm>
            <a:off x="31554" y="579604"/>
            <a:ext cx="12124944" cy="0"/>
          </a:xfrm>
          <a:prstGeom prst="line">
            <a:avLst/>
          </a:prstGeom>
          <a:ln w="101600" cap="rnd" cmpd="thinThick">
            <a:solidFill>
              <a:schemeClr val="tx2">
                <a:lumMod val="5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7DB6B1C3-4C1B-43A2-97FD-B3B4255DFAE5}"/>
              </a:ext>
            </a:extLst>
          </p:cNvPr>
          <p:cNvSpPr txBox="1"/>
          <p:nvPr/>
        </p:nvSpPr>
        <p:spPr>
          <a:xfrm>
            <a:off x="4602572" y="145886"/>
            <a:ext cx="2992027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>
            <a:spAutoFit/>
          </a:bodyPr>
          <a:lstStyle/>
          <a:p>
            <a:pPr algn="ctr" defTabSz="871057">
              <a:defRPr/>
            </a:pPr>
            <a:r>
              <a:rPr lang="en-US" sz="2400" b="1" dirty="0">
                <a:solidFill>
                  <a:srgbClr val="000066"/>
                </a:solidFill>
                <a:latin typeface="Trebuchet MS"/>
              </a:rPr>
              <a:t>Assam Shelf Basin</a:t>
            </a:r>
          </a:p>
        </p:txBody>
      </p:sp>
    </p:spTree>
    <p:extLst>
      <p:ext uri="{BB962C8B-B14F-4D97-AF65-F5344CB8AC3E}">
        <p14:creationId xmlns:p14="http://schemas.microsoft.com/office/powerpoint/2010/main" val="2745183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EFB967-B05F-44F5-A9D5-4058FBF90A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90518" y="164078"/>
          <a:ext cx="1513" cy="1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EFB967-B05F-44F5-A9D5-4058FBF90A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90518" y="164078"/>
                        <a:ext cx="1513" cy="15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TextBox 77">
            <a:extLst>
              <a:ext uri="{FF2B5EF4-FFF2-40B4-BE49-F238E27FC236}">
                <a16:creationId xmlns:a16="http://schemas.microsoft.com/office/drawing/2014/main" id="{0521B285-F4E0-4F14-AC97-FEB94C8A4DB1}"/>
              </a:ext>
            </a:extLst>
          </p:cNvPr>
          <p:cNvSpPr txBox="1"/>
          <p:nvPr/>
        </p:nvSpPr>
        <p:spPr>
          <a:xfrm>
            <a:off x="814169" y="695016"/>
            <a:ext cx="5102352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it-IT" sz="2286" b="1" dirty="0">
                <a:solidFill>
                  <a:srgbClr val="FFD700"/>
                </a:solidFill>
                <a:latin typeface="Trebuchet MS"/>
              </a:rPr>
              <a:t>Block Name: </a:t>
            </a:r>
            <a:r>
              <a:rPr lang="en-IN" sz="2200" b="1" dirty="0">
                <a:solidFill>
                  <a:prstClr val="white"/>
                </a:solidFill>
                <a:latin typeface="Trebuchet MS"/>
              </a:rPr>
              <a:t>AS-ONHP-2022/3</a:t>
            </a:r>
            <a:endParaRPr lang="it-IT" sz="2200" b="1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13D9414-D689-4C43-AC91-2B721D7F737E}"/>
              </a:ext>
            </a:extLst>
          </p:cNvPr>
          <p:cNvSpPr txBox="1">
            <a:spLocks/>
          </p:cNvSpPr>
          <p:nvPr/>
        </p:nvSpPr>
        <p:spPr>
          <a:xfrm>
            <a:off x="6323888" y="698646"/>
            <a:ext cx="5102352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en-IN" sz="2200" b="1" dirty="0">
                <a:solidFill>
                  <a:srgbClr val="FFD700"/>
                </a:solidFill>
                <a:latin typeface="Trebuchet MS"/>
              </a:rPr>
              <a:t>Block Area: </a:t>
            </a:r>
            <a:r>
              <a:rPr lang="en-IN" sz="2200" b="1" dirty="0">
                <a:solidFill>
                  <a:prstClr val="white"/>
                </a:solidFill>
                <a:latin typeface="Trebuchet MS"/>
              </a:rPr>
              <a:t>2,168 SQ KM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5659DAC-25BB-4732-8CC5-399D8C0DCA34}"/>
              </a:ext>
            </a:extLst>
          </p:cNvPr>
          <p:cNvGrpSpPr/>
          <p:nvPr/>
        </p:nvGrpSpPr>
        <p:grpSpPr>
          <a:xfrm>
            <a:off x="767948" y="1362279"/>
            <a:ext cx="5816043" cy="3053279"/>
            <a:chOff x="502777" y="1053013"/>
            <a:chExt cx="6105500" cy="3205236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5FAC84A8-82E8-428D-B188-5F7EC0C6FBA0}"/>
                </a:ext>
              </a:extLst>
            </p:cNvPr>
            <p:cNvSpPr txBox="1"/>
            <p:nvPr/>
          </p:nvSpPr>
          <p:spPr>
            <a:xfrm>
              <a:off x="1516420" y="3961473"/>
              <a:ext cx="3695700" cy="29677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algn="ctr" defTabSz="871057">
                <a:lnSpc>
                  <a:spcPct val="115000"/>
                </a:lnSpc>
                <a:spcAft>
                  <a:spcPts val="953"/>
                </a:spcAft>
                <a:defRPr/>
              </a:pPr>
              <a:r>
                <a:rPr lang="en-US" sz="1143" b="1" dirty="0">
                  <a:solidFill>
                    <a:srgbClr val="000000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Representative Seismic Section</a:t>
              </a:r>
              <a:endParaRPr lang="en-IN" sz="1048" dirty="0">
                <a:solidFill>
                  <a:prstClr val="whit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Mangal" panose="02040503050203030202" pitchFamily="18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48C58A6-1722-4FCD-AEF7-6C0584B0559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02777" y="1053013"/>
              <a:ext cx="6105500" cy="2936299"/>
            </a:xfrm>
            <a:prstGeom prst="rect">
              <a:avLst/>
            </a:prstGeom>
          </p:spPr>
        </p:pic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7CF3576A-9C7B-4D4D-A210-9F8DAFA543E9}"/>
              </a:ext>
            </a:extLst>
          </p:cNvPr>
          <p:cNvSpPr txBox="1"/>
          <p:nvPr/>
        </p:nvSpPr>
        <p:spPr>
          <a:xfrm>
            <a:off x="6047788" y="4301423"/>
            <a:ext cx="5683702" cy="233375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txBody>
          <a:bodyPr wrap="square" lIns="0" tIns="91440" rIns="91440" bIns="91440" anchor="ctr">
            <a:noAutofit/>
          </a:bodyPr>
          <a:lstStyle/>
          <a:p>
            <a:pPr marL="102881" lvl="1" algn="ctr" defTabSz="871057">
              <a:spcBef>
                <a:spcPts val="286"/>
              </a:spcBef>
              <a:spcAft>
                <a:spcPts val="286"/>
              </a:spcAft>
              <a:buClr>
                <a:srgbClr val="264796"/>
              </a:buClr>
              <a:defRPr/>
            </a:pPr>
            <a:r>
              <a:rPr lang="en-US" sz="1524" b="1" dirty="0">
                <a:solidFill>
                  <a:srgbClr val="2647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1715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troleum System:</a:t>
            </a:r>
            <a:endParaRPr lang="en-IN" sz="152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02881" algn="just" defTabSz="871057">
              <a:lnSpc>
                <a:spcPct val="115000"/>
              </a:lnSpc>
              <a:spcBef>
                <a:spcPts val="286"/>
              </a:spcBef>
              <a:spcAft>
                <a:spcPts val="286"/>
              </a:spcAft>
              <a:defRPr/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ource rock:- 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opili, Sylhet and Tura formations</a:t>
            </a:r>
          </a:p>
          <a:p>
            <a:pPr marL="102881" algn="just" defTabSz="871057">
              <a:lnSpc>
                <a:spcPct val="115000"/>
              </a:lnSpc>
              <a:spcBef>
                <a:spcPts val="286"/>
              </a:spcBef>
              <a:spcAft>
                <a:spcPts val="286"/>
              </a:spcAft>
              <a:defRPr/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servoir:- 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e sandstone reservoirs within Tura, Sylhet, </a:t>
            </a:r>
            <a:r>
              <a:rPr lang="en-US" sz="133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opili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en-US" sz="133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arail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and </a:t>
            </a:r>
            <a:r>
              <a:rPr lang="en-US" sz="133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huban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33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ormationsare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probably sheet to discrete lenticular bodies</a:t>
            </a:r>
            <a:endParaRPr lang="en-IN" sz="133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02881" algn="just" defTabSz="871057">
              <a:lnSpc>
                <a:spcPct val="115000"/>
              </a:lnSpc>
              <a:spcBef>
                <a:spcPts val="286"/>
              </a:spcBef>
              <a:spcAft>
                <a:spcPts val="286"/>
              </a:spcAft>
              <a:defRPr/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trapment mechanism:- 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ructural trap </a:t>
            </a:r>
          </a:p>
          <a:p>
            <a:pPr marL="102881" algn="just" defTabSz="871057">
              <a:lnSpc>
                <a:spcPct val="115000"/>
              </a:lnSpc>
              <a:spcBef>
                <a:spcPts val="286"/>
              </a:spcBef>
              <a:spcAft>
                <a:spcPts val="286"/>
              </a:spcAft>
              <a:defRPr/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saged Petroleum system: 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troleum system envisaged are (</a:t>
            </a:r>
            <a:r>
              <a:rPr lang="en-IN" sz="1334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IN" sz="1334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leocene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Eocene: Tura- Sylhet- Kopili (ii) Oligo-Mio Play: </a:t>
            </a:r>
            <a:r>
              <a:rPr lang="en-IN" sz="1334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ail-Bhuban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lay</a:t>
            </a:r>
            <a:endParaRPr lang="en-IN" sz="152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0CBF51-3029-4E35-BCDE-002CA8534F5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3359" y="4635544"/>
            <a:ext cx="5174185" cy="1438842"/>
          </a:xfrm>
          <a:prstGeom prst="rect">
            <a:avLst/>
          </a:prstGeom>
        </p:spPr>
      </p:pic>
      <p:graphicFrame>
        <p:nvGraphicFramePr>
          <p:cNvPr id="23" name="Table 15">
            <a:extLst>
              <a:ext uri="{FF2B5EF4-FFF2-40B4-BE49-F238E27FC236}">
                <a16:creationId xmlns:a16="http://schemas.microsoft.com/office/drawing/2014/main" id="{961CB738-5F80-481A-B2F7-6338590B49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7447794"/>
              </p:ext>
            </p:extLst>
          </p:nvPr>
        </p:nvGraphicFramePr>
        <p:xfrm>
          <a:off x="1141808" y="5067247"/>
          <a:ext cx="4284033" cy="672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8011">
                  <a:extLst>
                    <a:ext uri="{9D8B030D-6E8A-4147-A177-3AD203B41FA5}">
                      <a16:colId xmlns:a16="http://schemas.microsoft.com/office/drawing/2014/main" val="1509538704"/>
                    </a:ext>
                  </a:extLst>
                </a:gridCol>
                <a:gridCol w="1428011">
                  <a:extLst>
                    <a:ext uri="{9D8B030D-6E8A-4147-A177-3AD203B41FA5}">
                      <a16:colId xmlns:a16="http://schemas.microsoft.com/office/drawing/2014/main" val="2097548571"/>
                    </a:ext>
                  </a:extLst>
                </a:gridCol>
                <a:gridCol w="1428011">
                  <a:extLst>
                    <a:ext uri="{9D8B030D-6E8A-4147-A177-3AD203B41FA5}">
                      <a16:colId xmlns:a16="http://schemas.microsoft.com/office/drawing/2014/main" val="1377973221"/>
                    </a:ext>
                  </a:extLst>
                </a:gridCol>
              </a:tblGrid>
              <a:tr h="33608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D (LKM)</a:t>
                      </a:r>
                      <a:endParaRPr lang="en-IN" sz="1600" dirty="0"/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D (SKM)</a:t>
                      </a:r>
                      <a:endParaRPr lang="en-IN" sz="1600" dirty="0"/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Exp. Well</a:t>
                      </a:r>
                      <a:endParaRPr lang="en-IN" sz="1600" dirty="0"/>
                    </a:p>
                  </a:txBody>
                  <a:tcPr marL="87105" marR="87105" marT="43552" marB="43552"/>
                </a:tc>
                <a:extLst>
                  <a:ext uri="{0D108BD9-81ED-4DB2-BD59-A6C34878D82A}">
                    <a16:rowId xmlns:a16="http://schemas.microsoft.com/office/drawing/2014/main" val="7503980"/>
                  </a:ext>
                </a:extLst>
              </a:tr>
              <a:tr h="336080">
                <a:tc>
                  <a:txBody>
                    <a:bodyPr/>
                    <a:lstStyle/>
                    <a:p>
                      <a:pPr algn="ctr"/>
                      <a:r>
                        <a:rPr lang="en-IN" sz="1600" dirty="0"/>
                        <a:t>206</a:t>
                      </a:r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/>
                        <a:t>0</a:t>
                      </a:r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/>
                        <a:t>0</a:t>
                      </a:r>
                    </a:p>
                  </a:txBody>
                  <a:tcPr marL="87105" marR="87105" marT="43552" marB="43552"/>
                </a:tc>
                <a:extLst>
                  <a:ext uri="{0D108BD9-81ED-4DB2-BD59-A6C34878D82A}">
                    <a16:rowId xmlns:a16="http://schemas.microsoft.com/office/drawing/2014/main" val="714915456"/>
                  </a:ext>
                </a:extLst>
              </a:tr>
            </a:tbl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7AE575DE-8E19-4EA0-A6E3-F42D70BF5F44}"/>
              </a:ext>
            </a:extLst>
          </p:cNvPr>
          <p:cNvSpPr txBox="1"/>
          <p:nvPr/>
        </p:nvSpPr>
        <p:spPr>
          <a:xfrm>
            <a:off x="1384637" y="4695864"/>
            <a:ext cx="3437397" cy="2570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r>
              <a:rPr lang="it-IT" sz="1715" b="1" kern="0" dirty="0">
                <a:solidFill>
                  <a:srgbClr val="FFD700"/>
                </a:solidFill>
                <a:latin typeface="Trebuchet MS"/>
              </a:rPr>
              <a:t>Data Availability</a:t>
            </a:r>
            <a:endParaRPr lang="en-IN" sz="1715" dirty="0" err="1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144D26-435E-49FF-B7B2-02C5F557FB71}"/>
              </a:ext>
            </a:extLst>
          </p:cNvPr>
          <p:cNvSpPr txBox="1"/>
          <p:nvPr/>
        </p:nvSpPr>
        <p:spPr>
          <a:xfrm>
            <a:off x="917105" y="6209210"/>
            <a:ext cx="4733438" cy="35881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835" algn="just" defTabSz="871057">
              <a:lnSpc>
                <a:spcPct val="115000"/>
              </a:lnSpc>
              <a:spcAft>
                <a:spcPts val="953"/>
              </a:spcAft>
            </a:pPr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cs typeface="Mangal" panose="02040503050203030202" pitchFamily="18" charset="0"/>
              </a:rPr>
              <a:t>Target plays: </a:t>
            </a:r>
            <a:r>
              <a:rPr lang="en-IN" sz="1600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aleocene</a:t>
            </a:r>
            <a:r>
              <a:rPr lang="en-IN" sz="16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&amp; Oligo-Miocene sequences</a:t>
            </a:r>
            <a:endParaRPr lang="en-IN" sz="1600" dirty="0">
              <a:solidFill>
                <a:srgbClr val="000000"/>
              </a:solidFill>
              <a:latin typeface="Calibri" panose="020F0502020204030204" pitchFamily="34" charset="0"/>
              <a:cs typeface="Mangal" panose="02040503050203030202" pitchFamily="18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D7DD998-F495-4A4E-A457-8E1AFC51F19B}"/>
              </a:ext>
            </a:extLst>
          </p:cNvPr>
          <p:cNvGrpSpPr/>
          <p:nvPr/>
        </p:nvGrpSpPr>
        <p:grpSpPr>
          <a:xfrm>
            <a:off x="7083274" y="1366383"/>
            <a:ext cx="3617152" cy="2792988"/>
            <a:chOff x="6001638" y="1025110"/>
            <a:chExt cx="3486165" cy="2640378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F1E017ED-ED37-4923-A59B-4BE68FE24F8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001638" y="1025110"/>
              <a:ext cx="3486165" cy="2640378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40D78D9-EE97-4AD8-BBE5-8A3193A8E5B4}"/>
                </a:ext>
              </a:extLst>
            </p:cNvPr>
            <p:cNvSpPr txBox="1"/>
            <p:nvPr/>
          </p:nvSpPr>
          <p:spPr>
            <a:xfrm>
              <a:off x="8056098" y="3287647"/>
              <a:ext cx="811677" cy="28270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algn="just" defTabSz="871057">
                <a:lnSpc>
                  <a:spcPct val="115000"/>
                </a:lnSpc>
                <a:spcAft>
                  <a:spcPts val="953"/>
                </a:spcAft>
                <a:defRPr/>
              </a:pPr>
              <a:r>
                <a:rPr lang="en-IN" sz="1143" b="1" dirty="0">
                  <a:solidFill>
                    <a:srgbClr val="000000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Base  Map</a:t>
              </a:r>
              <a:endParaRPr lang="en-IN" sz="1048" dirty="0">
                <a:solidFill>
                  <a:prstClr val="whit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Mangal" panose="02040503050203030202" pitchFamily="18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D9AA785-EAC1-4077-B758-67BF123E341F}"/>
                </a:ext>
              </a:extLst>
            </p:cNvPr>
            <p:cNvSpPr/>
            <p:nvPr/>
          </p:nvSpPr>
          <p:spPr>
            <a:xfrm>
              <a:off x="7140033" y="1240559"/>
              <a:ext cx="1190624" cy="207249"/>
            </a:xfrm>
            <a:prstGeom prst="rect">
              <a:avLst/>
            </a:prstGeom>
            <a:solidFill>
              <a:srgbClr val="FFFF99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17199C9-A5D2-4469-A227-6FB0F8A1A88B}"/>
                </a:ext>
              </a:extLst>
            </p:cNvPr>
            <p:cNvSpPr txBox="1"/>
            <p:nvPr/>
          </p:nvSpPr>
          <p:spPr>
            <a:xfrm>
              <a:off x="7209453" y="1260760"/>
              <a:ext cx="1158706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100" b="1" dirty="0">
                  <a:solidFill>
                    <a:schemeClr val="accent1">
                      <a:lumMod val="75000"/>
                      <a:lumOff val="25000"/>
                    </a:schemeClr>
                  </a:solidFill>
                </a:rPr>
                <a:t>AS-ONHP-2022/3</a:t>
              </a:r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B70B8F6-51E9-49E4-8131-59DFDA28983D}"/>
              </a:ext>
            </a:extLst>
          </p:cNvPr>
          <p:cNvCxnSpPr/>
          <p:nvPr/>
        </p:nvCxnSpPr>
        <p:spPr>
          <a:xfrm>
            <a:off x="31554" y="579604"/>
            <a:ext cx="12124944" cy="0"/>
          </a:xfrm>
          <a:prstGeom prst="line">
            <a:avLst/>
          </a:prstGeom>
          <a:ln w="101600" cap="rnd" cmpd="thinThick">
            <a:solidFill>
              <a:schemeClr val="tx2">
                <a:lumMod val="5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D367010A-60D5-47E7-BD6B-53DCF8C04C28}"/>
              </a:ext>
            </a:extLst>
          </p:cNvPr>
          <p:cNvSpPr txBox="1"/>
          <p:nvPr/>
        </p:nvSpPr>
        <p:spPr>
          <a:xfrm>
            <a:off x="4602572" y="145886"/>
            <a:ext cx="2992027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>
            <a:spAutoFit/>
          </a:bodyPr>
          <a:lstStyle/>
          <a:p>
            <a:pPr algn="ctr" defTabSz="871057">
              <a:defRPr/>
            </a:pPr>
            <a:r>
              <a:rPr lang="en-US" sz="2400" b="1" dirty="0">
                <a:solidFill>
                  <a:srgbClr val="000066"/>
                </a:solidFill>
                <a:latin typeface="Trebuchet MS"/>
              </a:rPr>
              <a:t>Assam Shelf Basin</a:t>
            </a:r>
          </a:p>
        </p:txBody>
      </p:sp>
    </p:spTree>
    <p:extLst>
      <p:ext uri="{BB962C8B-B14F-4D97-AF65-F5344CB8AC3E}">
        <p14:creationId xmlns:p14="http://schemas.microsoft.com/office/powerpoint/2010/main" val="33037494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EFB967-B05F-44F5-A9D5-4058FBF90A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90518" y="164078"/>
          <a:ext cx="1513" cy="1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EFB967-B05F-44F5-A9D5-4058FBF90A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90518" y="164078"/>
                        <a:ext cx="1513" cy="15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1">
            <a:extLst>
              <a:ext uri="{FF2B5EF4-FFF2-40B4-BE49-F238E27FC236}">
                <a16:creationId xmlns:a16="http://schemas.microsoft.com/office/drawing/2014/main" id="{D3BFF2B1-E76B-FDC2-AB2D-D5407463FA15}"/>
              </a:ext>
            </a:extLst>
          </p:cNvPr>
          <p:cNvSpPr txBox="1">
            <a:spLocks/>
          </p:cNvSpPr>
          <p:nvPr/>
        </p:nvSpPr>
        <p:spPr>
          <a:xfrm>
            <a:off x="6293960" y="692926"/>
            <a:ext cx="5102352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en-IN" sz="1720" b="1" dirty="0">
                <a:solidFill>
                  <a:prstClr val="white"/>
                </a:solidFill>
                <a:latin typeface="Trebuchet MS"/>
              </a:rPr>
              <a:t>3 Blocks</a:t>
            </a:r>
          </a:p>
        </p:txBody>
      </p:sp>
      <p:sp>
        <p:nvSpPr>
          <p:cNvPr id="53" name="ee4pHeader2">
            <a:extLst>
              <a:ext uri="{FF2B5EF4-FFF2-40B4-BE49-F238E27FC236}">
                <a16:creationId xmlns:a16="http://schemas.microsoft.com/office/drawing/2014/main" id="{C1AB5D94-31BD-B655-88F0-BB7042363E13}"/>
              </a:ext>
            </a:extLst>
          </p:cNvPr>
          <p:cNvSpPr txBox="1"/>
          <p:nvPr/>
        </p:nvSpPr>
        <p:spPr>
          <a:xfrm>
            <a:off x="887853" y="3405593"/>
            <a:ext cx="4989073" cy="22986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 defTabSz="871057">
              <a:defRPr/>
            </a:pPr>
            <a:r>
              <a:rPr lang="en-US" sz="1524" b="1" dirty="0">
                <a:solidFill>
                  <a:srgbClr val="264796"/>
                </a:solidFill>
                <a:latin typeface="Trebuchet MS"/>
              </a:rPr>
              <a:t>Basin's risked resource potential – 1,139 MMTOE</a:t>
            </a:r>
          </a:p>
        </p:txBody>
      </p:sp>
      <p:graphicFrame>
        <p:nvGraphicFramePr>
          <p:cNvPr id="85" name="Chart 84">
            <a:extLst>
              <a:ext uri="{FF2B5EF4-FFF2-40B4-BE49-F238E27FC236}">
                <a16:creationId xmlns:a16="http://schemas.microsoft.com/office/drawing/2014/main" id="{F233765F-38FF-443E-96E3-CF08AD77A89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0707638"/>
              </p:ext>
            </p:extLst>
          </p:nvPr>
        </p:nvGraphicFramePr>
        <p:xfrm>
          <a:off x="3442024" y="3744337"/>
          <a:ext cx="2507291" cy="25934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936C6F70-C813-BB1D-7500-30D60E7F65C2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3807984" y="4241861"/>
            <a:ext cx="0" cy="13611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9EBEB645-9389-7583-A053-BD2CA7C76B12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H="1">
            <a:off x="3576610" y="4255472"/>
            <a:ext cx="231373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E88F7D1B-00AD-DF5A-C634-0CFF8BBCDE3F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 flipH="1">
            <a:off x="3540319" y="4199519"/>
            <a:ext cx="75612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9679A823-489E-6759-C5C5-B06672A6A11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123352" y="4418795"/>
            <a:ext cx="1261207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4237A8B8-D090-44A5-B5BD-407359303280}" type="datetime'0''''3'''''''''' ''PA''L''EOCE''N''E''''-''E''''OCE''NE''''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3 PALEOCENE-EOCENE</a:t>
            </a:fld>
            <a:endParaRPr lang="en-US" sz="953">
              <a:latin typeface="Trebuchet MS"/>
            </a:endParaRP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5D634224-75A6-8DFF-2BC1-937660DE867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740346" y="3877414"/>
            <a:ext cx="644213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04CCC7E3-C499-4D48-89EE-1D66E6BB40EA}" type="datetime'0''1'''' ''''MIOC''''''EN''''E''''''''''''''''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1 MIOCENE</a:t>
            </a:fld>
            <a:endParaRPr lang="en-US" sz="953" dirty="0">
              <a:latin typeface="Trebuchet MS"/>
            </a:endParaRP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B887EFFC-B156-3575-2C59-84D8DEAA492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520660" y="4689485"/>
            <a:ext cx="75612" cy="164592"/>
          </a:xfrm>
          <a:prstGeom prst="rect">
            <a:avLst/>
          </a:prstGeom>
          <a:solidFill>
            <a:srgbClr val="32B842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6CF6280A-2B94-495B-A4ED-ED980563CBCE}" type="datetime'''''''7'''''''''''''''''''''''''''''''">
              <a:rPr lang="en-US" altLang="en-US" sz="953"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US" sz="953" dirty="0">
              <a:latin typeface="Trebuchet MS"/>
            </a:endParaRP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1ABCD59E-08D3-B367-4B01-3855DB581CB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601220" y="4148105"/>
            <a:ext cx="783339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B3A2B60C-B8C6-47CC-8834-47784729A90A}" type="datetime'''''0''2 O''LIGO''''''''C''''''''''''''''''''EN''E''''''''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2 OLIGOCENE</a:t>
            </a:fld>
            <a:endParaRPr lang="en-US" sz="953">
              <a:latin typeface="Trebuchet MS"/>
            </a:endParaRP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C42B5236-77AF-991F-4370-F96E489B7C3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519967" y="4609336"/>
            <a:ext cx="1864590" cy="320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CEFBA8C4-78E4-4AB6-A5E5-BC4C95EEB248}" type="datetime'04 C''RETACEOU''S_&#10;''LA''TE_''CAM''PANIAN''-''MA''ASTRICHTIAN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4 CRETACEOUS_
LATE_CAMPANIAN-MAASTRICHTIAN</a:t>
            </a:fld>
            <a:endParaRPr lang="en-US" sz="953">
              <a:latin typeface="Trebuchet MS"/>
            </a:endParaRPr>
          </a:p>
        </p:txBody>
      </p:sp>
      <p:sp>
        <p:nvSpPr>
          <p:cNvPr id="64" name="Text Placeholder 3">
            <a:extLst>
              <a:ext uri="{FF2B5EF4-FFF2-40B4-BE49-F238E27FC236}">
                <a16:creationId xmlns:a16="http://schemas.microsoft.com/office/drawing/2014/main" id="{470B86D5-F9AB-F2A9-3DC2-03C09B26FE8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607679" y="4967736"/>
            <a:ext cx="1776880" cy="145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fld id="{A4CBE295-5E0D-48FB-ACCD-6CEC27E0019D}" type="datetime'0''5 ''CR''E''TACEOUS''_LA''T''E_S''ANTO''''''N''''I''A''N'''">
              <a:rPr lang="en-US" altLang="en-US" sz="953" spc="-29">
                <a:latin typeface="Trebuchet MS"/>
              </a:rPr>
              <a:pPr algn="r" defTabSz="871057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05 CRETACEOUS_LATE_SANTONIAN</a:t>
            </a:fld>
            <a:endParaRPr lang="en-US" sz="953" spc="-29" dirty="0">
              <a:latin typeface="Trebuchet MS"/>
            </a:endParaRPr>
          </a:p>
        </p:txBody>
      </p:sp>
      <p:sp>
        <p:nvSpPr>
          <p:cNvPr id="65" name="Text Placeholder 3">
            <a:extLst>
              <a:ext uri="{FF2B5EF4-FFF2-40B4-BE49-F238E27FC236}">
                <a16:creationId xmlns:a16="http://schemas.microsoft.com/office/drawing/2014/main" id="{7464C580-0D97-42B2-7136-7717EE746B6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737730" y="5150717"/>
            <a:ext cx="1646828" cy="320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C058B6FB-63E4-4AEF-9FBC-D86A572D36C4}" type="datetime'06'' CRETACEOUS_&#10;LATE_''''CE''NOM''AN''IAN-''T''UR''''O''NIAN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6 CRETACEOUS_
LATE_CENOMANIAN-TURONIAN</a:t>
            </a:fld>
            <a:endParaRPr lang="en-US" sz="953">
              <a:latin typeface="Trebuchet MS"/>
            </a:endParaRPr>
          </a:p>
        </p:txBody>
      </p:sp>
      <p:sp>
        <p:nvSpPr>
          <p:cNvPr id="66" name="Text Placeholder 3">
            <a:extLst>
              <a:ext uri="{FF2B5EF4-FFF2-40B4-BE49-F238E27FC236}">
                <a16:creationId xmlns:a16="http://schemas.microsoft.com/office/drawing/2014/main" id="{EC984464-DEB1-22F0-46F1-9FF944482F2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114277" y="5501558"/>
            <a:ext cx="1270280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5CBE7130-C3D1-4BAF-A3F3-55E19EE54EBE}" type="datetime'0''7'' ''C''''''R''''ETAC''''''''EO''US''''''_''EARL''Y''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7 CRETACEOUS_EARLY</a:t>
            </a:fld>
            <a:endParaRPr lang="en-US" sz="953">
              <a:latin typeface="Trebuchet MS"/>
            </a:endParaRP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A3BCF45F-ACE8-A2C8-B40B-698CBE5D10F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722199" y="5772249"/>
            <a:ext cx="662360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A89BC15C-1E35-4ECD-ACC2-33CB4C76A287}" type="datetime'''0''8 ''J''''U''''''''RA''''S''''''''''''S''''''''I''''''C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8 JURASSIC</a:t>
            </a:fld>
            <a:endParaRPr lang="en-US" sz="953">
              <a:latin typeface="Trebuchet MS"/>
            </a:endParaRPr>
          </a:p>
        </p:txBody>
      </p:sp>
      <p:sp>
        <p:nvSpPr>
          <p:cNvPr id="112" name="Text Placeholder 3">
            <a:extLst>
              <a:ext uri="{FF2B5EF4-FFF2-40B4-BE49-F238E27FC236}">
                <a16:creationId xmlns:a16="http://schemas.microsoft.com/office/drawing/2014/main" id="{1D57C496-207E-8334-4327-CD9291A6DC7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091595" y="6042939"/>
            <a:ext cx="1292964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F5908D9A-D98D-4DB6-B023-F5E45DD67693}" type="datetime'''''0''''9 A''''''''R''C''H''EA''N''''_''BA''''S''''EM''EN''T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9 ARCHEAN_BASEMENT</a:t>
            </a:fld>
            <a:endParaRPr lang="en-US" sz="953">
              <a:latin typeface="Trebuchet MS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1950756C-7B58-B03C-3F0C-FB9E5C5150B8}"/>
              </a:ext>
            </a:extLst>
          </p:cNvPr>
          <p:cNvCxnSpPr>
            <a:cxnSpLocks/>
          </p:cNvCxnSpPr>
          <p:nvPr/>
        </p:nvCxnSpPr>
        <p:spPr>
          <a:xfrm flipH="1">
            <a:off x="887853" y="3691407"/>
            <a:ext cx="4989073" cy="0"/>
          </a:xfrm>
          <a:prstGeom prst="line">
            <a:avLst/>
          </a:prstGeom>
          <a:ln w="9525" cap="rnd">
            <a:solidFill>
              <a:schemeClr val="accent5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Group 73">
            <a:extLst>
              <a:ext uri="{FF2B5EF4-FFF2-40B4-BE49-F238E27FC236}">
                <a16:creationId xmlns:a16="http://schemas.microsoft.com/office/drawing/2014/main" id="{23AA5FFD-2C3A-863F-1261-23F86FDBB7B5}"/>
              </a:ext>
            </a:extLst>
          </p:cNvPr>
          <p:cNvGrpSpPr/>
          <p:nvPr/>
        </p:nvGrpSpPr>
        <p:grpSpPr>
          <a:xfrm rot="5400000">
            <a:off x="7431293" y="2551883"/>
            <a:ext cx="2554499" cy="5557476"/>
            <a:chOff x="424729" y="1165597"/>
            <a:chExt cx="2223089" cy="5596622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E4D24899-6B2B-4AC1-48C2-85047B215C08}"/>
                </a:ext>
              </a:extLst>
            </p:cNvPr>
            <p:cNvCxnSpPr>
              <a:cxnSpLocks/>
            </p:cNvCxnSpPr>
            <p:nvPr/>
          </p:nvCxnSpPr>
          <p:spPr>
            <a:xfrm>
              <a:off x="628197" y="1165597"/>
              <a:ext cx="453" cy="5596622"/>
            </a:xfrm>
            <a:prstGeom prst="line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D7F57489-2E53-940C-5389-B08E94D97597}"/>
                </a:ext>
              </a:extLst>
            </p:cNvPr>
            <p:cNvGrpSpPr/>
            <p:nvPr/>
          </p:nvGrpSpPr>
          <p:grpSpPr>
            <a:xfrm>
              <a:off x="424729" y="1446085"/>
              <a:ext cx="2223089" cy="5035647"/>
              <a:chOff x="424731" y="1593204"/>
              <a:chExt cx="2150517" cy="4644729"/>
            </a:xfrm>
          </p:grpSpPr>
          <p:sp>
            <p:nvSpPr>
              <p:cNvPr id="80" name="Rectangle: Top Corners Rounded 79">
                <a:extLst>
                  <a:ext uri="{FF2B5EF4-FFF2-40B4-BE49-F238E27FC236}">
                    <a16:creationId xmlns:a16="http://schemas.microsoft.com/office/drawing/2014/main" id="{FA594134-20AD-3498-0406-5153F4729E6E}"/>
                  </a:ext>
                </a:extLst>
              </p:cNvPr>
              <p:cNvSpPr/>
              <p:nvPr/>
            </p:nvSpPr>
            <p:spPr>
              <a:xfrm rot="5400000">
                <a:off x="-727327" y="2935357"/>
                <a:ext cx="4549092" cy="2056059"/>
              </a:xfrm>
              <a:prstGeom prst="round2SameRect">
                <a:avLst>
                  <a:gd name="adj1" fmla="val 11574"/>
                  <a:gd name="adj2" fmla="val 0"/>
                </a:avLst>
              </a:prstGeom>
              <a:solidFill>
                <a:schemeClr val="accent1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0883">
                  <a:defRPr/>
                </a:pPr>
                <a:endParaRPr lang="en-US" sz="1524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81" name="Rectangle: Top Corners Rounded 80">
                <a:extLst>
                  <a:ext uri="{FF2B5EF4-FFF2-40B4-BE49-F238E27FC236}">
                    <a16:creationId xmlns:a16="http://schemas.microsoft.com/office/drawing/2014/main" id="{049757A5-7047-AD37-B846-ABDC7E765982}"/>
                  </a:ext>
                </a:extLst>
              </p:cNvPr>
              <p:cNvSpPr/>
              <p:nvPr/>
            </p:nvSpPr>
            <p:spPr>
              <a:xfrm rot="5400000">
                <a:off x="-853362" y="2871297"/>
                <a:ext cx="4632058" cy="2075872"/>
              </a:xfrm>
              <a:prstGeom prst="round2SameRect">
                <a:avLst>
                  <a:gd name="adj1" fmla="val 11574"/>
                  <a:gd name="adj2" fmla="val 0"/>
                </a:avLst>
              </a:prstGeom>
              <a:solidFill>
                <a:schemeClr val="tx2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0883">
                  <a:defRPr/>
                </a:pPr>
                <a:endParaRPr lang="en-US" sz="1524">
                  <a:solidFill>
                    <a:srgbClr val="FFFFFF"/>
                  </a:solidFill>
                  <a:latin typeface="Trebuchet MS"/>
                </a:endParaRPr>
              </a:p>
            </p:txBody>
          </p:sp>
        </p:grpSp>
        <p:sp>
          <p:nvSpPr>
            <p:cNvPr id="78" name="Right Triangle 77">
              <a:extLst>
                <a:ext uri="{FF2B5EF4-FFF2-40B4-BE49-F238E27FC236}">
                  <a16:creationId xmlns:a16="http://schemas.microsoft.com/office/drawing/2014/main" id="{A6FB2A81-D583-7863-26BF-9BD286E12CB4}"/>
                </a:ext>
              </a:extLst>
            </p:cNvPr>
            <p:cNvSpPr/>
            <p:nvPr/>
          </p:nvSpPr>
          <p:spPr>
            <a:xfrm flipH="1">
              <a:off x="424729" y="1223131"/>
              <a:ext cx="203468" cy="222955"/>
            </a:xfrm>
            <a:prstGeom prst="rtTriangle">
              <a:avLst/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0883">
                <a:defRPr/>
              </a:pPr>
              <a:endParaRPr lang="en-US" sz="1524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79" name="Right Triangle 78">
              <a:extLst>
                <a:ext uri="{FF2B5EF4-FFF2-40B4-BE49-F238E27FC236}">
                  <a16:creationId xmlns:a16="http://schemas.microsoft.com/office/drawing/2014/main" id="{EC56EE5D-210E-C5B9-9006-F7F4535A6E40}"/>
                </a:ext>
              </a:extLst>
            </p:cNvPr>
            <p:cNvSpPr/>
            <p:nvPr/>
          </p:nvSpPr>
          <p:spPr>
            <a:xfrm flipH="1" flipV="1">
              <a:off x="424729" y="6466492"/>
              <a:ext cx="203468" cy="222955"/>
            </a:xfrm>
            <a:prstGeom prst="rtTriangle">
              <a:avLst/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0883">
                <a:defRPr/>
              </a:pPr>
              <a:endParaRPr lang="en-US" sz="1524">
                <a:solidFill>
                  <a:srgbClr val="FFFFFF"/>
                </a:solidFill>
                <a:latin typeface="Trebuchet MS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CFD26FCC-E013-AEF8-3C79-CC53E118221F}"/>
              </a:ext>
            </a:extLst>
          </p:cNvPr>
          <p:cNvSpPr txBox="1"/>
          <p:nvPr/>
        </p:nvSpPr>
        <p:spPr>
          <a:xfrm>
            <a:off x="6388435" y="4553505"/>
            <a:ext cx="4654801" cy="18216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241294" indent="-241294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  <a:defRPr sz="1400"/>
            </a:lvl1pPr>
          </a:lstStyle>
          <a:p>
            <a:pPr marL="375086" lvl="1" indent="-272205" defTabSz="871057">
              <a:spcAft>
                <a:spcPts val="1143"/>
              </a:spcAft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429" dirty="0">
                <a:solidFill>
                  <a:prstClr val="white"/>
                </a:solidFill>
                <a:latin typeface="Trebuchet MS"/>
              </a:rPr>
              <a:t>Basin with significant production from </a:t>
            </a:r>
            <a:r>
              <a:rPr lang="en-US" sz="1429" dirty="0">
                <a:solidFill>
                  <a:srgbClr val="FFD700"/>
                </a:solidFill>
                <a:latin typeface="Trebuchet MS"/>
              </a:rPr>
              <a:t>Mesozoic</a:t>
            </a:r>
            <a:r>
              <a:rPr lang="en-US" sz="1429" dirty="0">
                <a:solidFill>
                  <a:prstClr val="white"/>
                </a:solidFill>
                <a:latin typeface="Trebuchet MS"/>
              </a:rPr>
              <a:t> and </a:t>
            </a:r>
            <a:r>
              <a:rPr lang="en-US" sz="1429" dirty="0">
                <a:solidFill>
                  <a:srgbClr val="FFD700"/>
                </a:solidFill>
                <a:latin typeface="Trebuchet MS"/>
              </a:rPr>
              <a:t>Basement</a:t>
            </a:r>
          </a:p>
          <a:p>
            <a:pPr marL="375086" lvl="1" indent="-272205" defTabSz="871057">
              <a:spcAft>
                <a:spcPts val="1143"/>
              </a:spcAft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429" dirty="0">
                <a:solidFill>
                  <a:srgbClr val="FFD700"/>
                </a:solidFill>
                <a:latin typeface="Trebuchet MS"/>
              </a:rPr>
              <a:t>Deep-to-</a:t>
            </a:r>
            <a:r>
              <a:rPr lang="en-US" sz="1429" dirty="0" err="1">
                <a:solidFill>
                  <a:srgbClr val="FFD700"/>
                </a:solidFill>
                <a:latin typeface="Trebuchet MS"/>
              </a:rPr>
              <a:t>Ultradeep</a:t>
            </a:r>
            <a:r>
              <a:rPr lang="en-US" sz="1429" dirty="0">
                <a:solidFill>
                  <a:prstClr val="white"/>
                </a:solidFill>
                <a:latin typeface="Trebuchet MS"/>
              </a:rPr>
              <a:t> </a:t>
            </a:r>
            <a:r>
              <a:rPr lang="en-US" sz="1429" dirty="0">
                <a:solidFill>
                  <a:srgbClr val="FFD700"/>
                </a:solidFill>
                <a:latin typeface="Trebuchet MS"/>
              </a:rPr>
              <a:t>water </a:t>
            </a:r>
            <a:r>
              <a:rPr lang="en-US" sz="1429" dirty="0">
                <a:solidFill>
                  <a:prstClr val="white"/>
                </a:solidFill>
                <a:latin typeface="Trebuchet MS"/>
              </a:rPr>
              <a:t>largely appraised but less explored</a:t>
            </a:r>
          </a:p>
          <a:p>
            <a:pPr marL="375086" lvl="1" indent="-272205" defTabSz="871057">
              <a:spcAft>
                <a:spcPts val="1143"/>
              </a:spcAft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429" dirty="0">
                <a:solidFill>
                  <a:prstClr val="white"/>
                </a:solidFill>
                <a:latin typeface="Trebuchet MS"/>
              </a:rPr>
              <a:t>Opportunity to explore </a:t>
            </a:r>
            <a:r>
              <a:rPr lang="en-US" sz="1429" dirty="0">
                <a:solidFill>
                  <a:srgbClr val="FFD700"/>
                </a:solidFill>
                <a:latin typeface="Trebuchet MS"/>
              </a:rPr>
              <a:t>Ultradeep</a:t>
            </a:r>
            <a:r>
              <a:rPr lang="en-US" sz="1429" dirty="0">
                <a:solidFill>
                  <a:prstClr val="white"/>
                </a:solidFill>
                <a:latin typeface="Trebuchet MS"/>
              </a:rPr>
              <a:t> in the </a:t>
            </a:r>
            <a:br>
              <a:rPr lang="en-US" sz="1429" dirty="0">
                <a:solidFill>
                  <a:prstClr val="white"/>
                </a:solidFill>
                <a:latin typeface="Trebuchet MS"/>
              </a:rPr>
            </a:br>
            <a:r>
              <a:rPr lang="en-US" sz="1429" dirty="0">
                <a:solidFill>
                  <a:srgbClr val="FFD700"/>
                </a:solidFill>
                <a:latin typeface="Trebuchet MS"/>
              </a:rPr>
              <a:t>north-east</a:t>
            </a:r>
            <a:r>
              <a:rPr lang="en-US" sz="1429" dirty="0">
                <a:solidFill>
                  <a:prstClr val="white"/>
                </a:solidFill>
                <a:latin typeface="Trebuchet MS"/>
              </a:rPr>
              <a:t> and southern part towards </a:t>
            </a:r>
            <a:br>
              <a:rPr lang="en-US" sz="1429" dirty="0">
                <a:solidFill>
                  <a:prstClr val="white"/>
                </a:solidFill>
                <a:latin typeface="Trebuchet MS"/>
              </a:rPr>
            </a:br>
            <a:r>
              <a:rPr lang="en-US" sz="1429" dirty="0">
                <a:solidFill>
                  <a:srgbClr val="FFD700"/>
                </a:solidFill>
                <a:latin typeface="Trebuchet MS"/>
              </a:rPr>
              <a:t>Gulf of Mannar </a:t>
            </a:r>
            <a:endParaRPr lang="en-US" sz="1429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E48F7CC-0273-4C95-A23E-0285C3295652}"/>
              </a:ext>
            </a:extLst>
          </p:cNvPr>
          <p:cNvGrpSpPr/>
          <p:nvPr/>
        </p:nvGrpSpPr>
        <p:grpSpPr>
          <a:xfrm>
            <a:off x="1426287" y="1315402"/>
            <a:ext cx="4064819" cy="1937924"/>
            <a:chOff x="1426287" y="1570129"/>
            <a:chExt cx="4064819" cy="1937924"/>
          </a:xfrm>
        </p:grpSpPr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965AB57C-2A1A-6732-035D-3919810D7068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27"/>
            <a:srcRect/>
            <a:stretch/>
          </p:blipFill>
          <p:spPr>
            <a:xfrm>
              <a:off x="1426287" y="1657229"/>
              <a:ext cx="1263858" cy="168826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114016E2-F7D5-6EE5-CA68-E32CC386B2C0}"/>
                </a:ext>
              </a:extLst>
            </p:cNvPr>
            <p:cNvGrpSpPr/>
            <p:nvPr/>
          </p:nvGrpSpPr>
          <p:grpSpPr>
            <a:xfrm>
              <a:off x="4589291" y="2912233"/>
              <a:ext cx="796434" cy="595820"/>
              <a:chOff x="4891630" y="2839739"/>
              <a:chExt cx="836071" cy="626278"/>
            </a:xfrm>
          </p:grpSpPr>
          <p:sp>
            <p:nvSpPr>
              <p:cNvPr id="9" name="Right Triangle 8">
                <a:extLst>
                  <a:ext uri="{FF2B5EF4-FFF2-40B4-BE49-F238E27FC236}">
                    <a16:creationId xmlns:a16="http://schemas.microsoft.com/office/drawing/2014/main" id="{70515CFE-22BE-79D4-A633-6D00EEBDCB0D}"/>
                  </a:ext>
                </a:extLst>
              </p:cNvPr>
              <p:cNvSpPr/>
              <p:nvPr/>
            </p:nvSpPr>
            <p:spPr>
              <a:xfrm rot="16200000">
                <a:off x="4868177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0" name="Right Triangle 9">
                <a:extLst>
                  <a:ext uri="{FF2B5EF4-FFF2-40B4-BE49-F238E27FC236}">
                    <a16:creationId xmlns:a16="http://schemas.microsoft.com/office/drawing/2014/main" id="{4C80992F-2AC7-51BF-A272-93645BAC6D91}"/>
                  </a:ext>
                </a:extLst>
              </p:cNvPr>
              <p:cNvSpPr/>
              <p:nvPr/>
            </p:nvSpPr>
            <p:spPr>
              <a:xfrm rot="5400000" flipH="1">
                <a:off x="5607953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1" name="Rectangle: Top Corners Rounded 10">
                <a:extLst>
                  <a:ext uri="{FF2B5EF4-FFF2-40B4-BE49-F238E27FC236}">
                    <a16:creationId xmlns:a16="http://schemas.microsoft.com/office/drawing/2014/main" id="{7C164A1F-D08D-C777-B232-AC76518323D7}"/>
                  </a:ext>
                </a:extLst>
              </p:cNvPr>
              <p:cNvSpPr/>
              <p:nvPr/>
            </p:nvSpPr>
            <p:spPr>
              <a:xfrm flipV="1">
                <a:off x="4891630" y="3007842"/>
                <a:ext cx="836070" cy="458175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2" name="Rectangle: Top Corners Rounded 11">
                <a:extLst>
                  <a:ext uri="{FF2B5EF4-FFF2-40B4-BE49-F238E27FC236}">
                    <a16:creationId xmlns:a16="http://schemas.microsoft.com/office/drawing/2014/main" id="{C9860BFA-C16D-E06E-9EE7-5325D3B268DB}"/>
                  </a:ext>
                </a:extLst>
              </p:cNvPr>
              <p:cNvSpPr/>
              <p:nvPr/>
            </p:nvSpPr>
            <p:spPr>
              <a:xfrm flipV="1">
                <a:off x="4891630" y="2972282"/>
                <a:ext cx="836070" cy="458175"/>
              </a:xfrm>
              <a:prstGeom prst="round2SameRect">
                <a:avLst/>
              </a:prstGeom>
              <a:solidFill>
                <a:schemeClr val="bg1"/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B12A3B29-ABD1-59D0-BCEC-BCA364401361}"/>
                  </a:ext>
                </a:extLst>
              </p:cNvPr>
              <p:cNvSpPr txBox="1"/>
              <p:nvPr/>
            </p:nvSpPr>
            <p:spPr>
              <a:xfrm>
                <a:off x="4897970" y="3011042"/>
                <a:ext cx="823390" cy="3390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871057">
                  <a:defRPr/>
                </a:pPr>
                <a:r>
                  <a:rPr lang="en-IN" sz="1048" b="1">
                    <a:solidFill>
                      <a:srgbClr val="00B050"/>
                    </a:solidFill>
                    <a:latin typeface="Calibri" panose="020F0502020204030204" pitchFamily="34" charset="0"/>
                  </a:rPr>
                  <a:t>Discovered</a:t>
                </a:r>
                <a:r>
                  <a:rPr lang="en-IN" sz="1048" b="1">
                    <a:solidFill>
                      <a:srgbClr val="000000"/>
                    </a:solidFill>
                    <a:latin typeface="Calibri" panose="020F0502020204030204" pitchFamily="34" charset="0"/>
                  </a:rPr>
                  <a:t>|</a:t>
                </a:r>
              </a:p>
              <a:p>
                <a:pPr algn="ctr" defTabSz="871057">
                  <a:defRPr/>
                </a:pPr>
                <a:r>
                  <a:rPr lang="en-IN" sz="1048" b="1">
                    <a:solidFill>
                      <a:srgbClr val="5A5A5A"/>
                    </a:solidFill>
                    <a:latin typeface="Calibri" panose="020F0502020204030204" pitchFamily="34" charset="0"/>
                  </a:rPr>
                  <a:t>Undiscovered</a:t>
                </a:r>
                <a:endParaRPr lang="en-IN" sz="1048" b="1">
                  <a:solidFill>
                    <a:srgbClr val="5A5A5A"/>
                  </a:solidFill>
                  <a:latin typeface="Trebuchet MS"/>
                </a:endParaRP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B71AE08-9A1F-AF80-B912-A0C8B8984087}"/>
                </a:ext>
              </a:extLst>
            </p:cNvPr>
            <p:cNvGrpSpPr/>
            <p:nvPr/>
          </p:nvGrpSpPr>
          <p:grpSpPr>
            <a:xfrm>
              <a:off x="3751060" y="2896789"/>
              <a:ext cx="796434" cy="595820"/>
              <a:chOff x="3859483" y="2839739"/>
              <a:chExt cx="836071" cy="626278"/>
            </a:xfrm>
          </p:grpSpPr>
          <p:sp>
            <p:nvSpPr>
              <p:cNvPr id="18" name="Right Triangle 17">
                <a:extLst>
                  <a:ext uri="{FF2B5EF4-FFF2-40B4-BE49-F238E27FC236}">
                    <a16:creationId xmlns:a16="http://schemas.microsoft.com/office/drawing/2014/main" id="{FDE9E08F-F594-2FDF-20D2-107506C79D9A}"/>
                  </a:ext>
                </a:extLst>
              </p:cNvPr>
              <p:cNvSpPr/>
              <p:nvPr/>
            </p:nvSpPr>
            <p:spPr>
              <a:xfrm rot="16200000">
                <a:off x="3836030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9" name="Right Triangle 18">
                <a:extLst>
                  <a:ext uri="{FF2B5EF4-FFF2-40B4-BE49-F238E27FC236}">
                    <a16:creationId xmlns:a16="http://schemas.microsoft.com/office/drawing/2014/main" id="{FF183195-BFC5-B0D8-2D06-7C97087798B0}"/>
                  </a:ext>
                </a:extLst>
              </p:cNvPr>
              <p:cNvSpPr/>
              <p:nvPr/>
            </p:nvSpPr>
            <p:spPr>
              <a:xfrm rot="5400000" flipH="1">
                <a:off x="4575806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21" name="Rectangle: Top Corners Rounded 20">
                <a:extLst>
                  <a:ext uri="{FF2B5EF4-FFF2-40B4-BE49-F238E27FC236}">
                    <a16:creationId xmlns:a16="http://schemas.microsoft.com/office/drawing/2014/main" id="{4A43ADF8-B41C-9027-7189-B1D1A4E6C0C2}"/>
                  </a:ext>
                </a:extLst>
              </p:cNvPr>
              <p:cNvSpPr/>
              <p:nvPr/>
            </p:nvSpPr>
            <p:spPr>
              <a:xfrm flipV="1">
                <a:off x="3859483" y="3007842"/>
                <a:ext cx="836070" cy="458175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22" name="Rectangle: Top Corners Rounded 21">
                <a:extLst>
                  <a:ext uri="{FF2B5EF4-FFF2-40B4-BE49-F238E27FC236}">
                    <a16:creationId xmlns:a16="http://schemas.microsoft.com/office/drawing/2014/main" id="{14C3F94F-F69E-5B51-9787-0A00E28962FA}"/>
                  </a:ext>
                </a:extLst>
              </p:cNvPr>
              <p:cNvSpPr/>
              <p:nvPr/>
            </p:nvSpPr>
            <p:spPr>
              <a:xfrm flipV="1">
                <a:off x="3859483" y="2972282"/>
                <a:ext cx="836070" cy="458175"/>
              </a:xfrm>
              <a:prstGeom prst="round2SameRect">
                <a:avLst/>
              </a:prstGeom>
              <a:solidFill>
                <a:schemeClr val="bg1"/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08DFB26F-DDAA-5302-96EA-E46B70236854}"/>
                  </a:ext>
                </a:extLst>
              </p:cNvPr>
              <p:cNvSpPr txBox="1"/>
              <p:nvPr/>
            </p:nvSpPr>
            <p:spPr>
              <a:xfrm>
                <a:off x="3865823" y="3011042"/>
                <a:ext cx="823390" cy="3390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871057">
                  <a:defRPr/>
                </a:pPr>
                <a:r>
                  <a:rPr lang="en-US" sz="1048" b="1">
                    <a:solidFill>
                      <a:srgbClr val="FFD700"/>
                    </a:solidFill>
                    <a:latin typeface="Calibri" panose="020F0502020204030204" pitchFamily="34" charset="0"/>
                  </a:rPr>
                  <a:t>Deep</a:t>
                </a:r>
                <a:r>
                  <a:rPr lang="en-IN" sz="1048" b="1">
                    <a:solidFill>
                      <a:srgbClr val="FF9933"/>
                    </a:solidFill>
                    <a:latin typeface="Calibri" panose="020F0502020204030204" pitchFamily="34" charset="0"/>
                  </a:rPr>
                  <a:t> </a:t>
                </a:r>
                <a:r>
                  <a:rPr lang="en-IN" sz="1048" b="1">
                    <a:solidFill>
                      <a:srgbClr val="000000"/>
                    </a:solidFill>
                    <a:latin typeface="Calibri" panose="020F0502020204030204" pitchFamily="34" charset="0"/>
                  </a:rPr>
                  <a:t>| </a:t>
                </a:r>
                <a:r>
                  <a:rPr lang="en-IN" sz="1048" b="1">
                    <a:solidFill>
                      <a:srgbClr val="B6C2FE"/>
                    </a:solidFill>
                    <a:latin typeface="Calibri" panose="020F0502020204030204" pitchFamily="34" charset="0"/>
                  </a:rPr>
                  <a:t>Shallow</a:t>
                </a:r>
                <a:endParaRPr lang="en-IN" sz="1048" b="1">
                  <a:solidFill>
                    <a:srgbClr val="B6C2FE"/>
                  </a:solidFill>
                  <a:latin typeface="Trebuchet MS"/>
                </a:endParaRP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9CE53C2-0A44-F0D3-03AA-3EAC6DFD33BD}"/>
                </a:ext>
              </a:extLst>
            </p:cNvPr>
            <p:cNvGrpSpPr/>
            <p:nvPr/>
          </p:nvGrpSpPr>
          <p:grpSpPr>
            <a:xfrm>
              <a:off x="2908017" y="2904671"/>
              <a:ext cx="796434" cy="595820"/>
              <a:chOff x="2820464" y="2839739"/>
              <a:chExt cx="836071" cy="626278"/>
            </a:xfrm>
          </p:grpSpPr>
          <p:sp>
            <p:nvSpPr>
              <p:cNvPr id="31" name="Right Triangle 30">
                <a:extLst>
                  <a:ext uri="{FF2B5EF4-FFF2-40B4-BE49-F238E27FC236}">
                    <a16:creationId xmlns:a16="http://schemas.microsoft.com/office/drawing/2014/main" id="{276BA6A6-3FA7-0533-0AB0-E52E3B589DDB}"/>
                  </a:ext>
                </a:extLst>
              </p:cNvPr>
              <p:cNvSpPr/>
              <p:nvPr/>
            </p:nvSpPr>
            <p:spPr>
              <a:xfrm rot="16200000">
                <a:off x="2797011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40" name="Right Triangle 39">
                <a:extLst>
                  <a:ext uri="{FF2B5EF4-FFF2-40B4-BE49-F238E27FC236}">
                    <a16:creationId xmlns:a16="http://schemas.microsoft.com/office/drawing/2014/main" id="{D6F86B4B-C638-03C6-DA57-1D0563123C2D}"/>
                  </a:ext>
                </a:extLst>
              </p:cNvPr>
              <p:cNvSpPr/>
              <p:nvPr/>
            </p:nvSpPr>
            <p:spPr>
              <a:xfrm rot="5400000" flipH="1">
                <a:off x="3536787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42" name="Rectangle: Top Corners Rounded 41">
                <a:extLst>
                  <a:ext uri="{FF2B5EF4-FFF2-40B4-BE49-F238E27FC236}">
                    <a16:creationId xmlns:a16="http://schemas.microsoft.com/office/drawing/2014/main" id="{D896E34D-16D7-3F78-6BEF-DCC38BB54F77}"/>
                  </a:ext>
                </a:extLst>
              </p:cNvPr>
              <p:cNvSpPr/>
              <p:nvPr/>
            </p:nvSpPr>
            <p:spPr>
              <a:xfrm flipV="1">
                <a:off x="2820464" y="3007842"/>
                <a:ext cx="836070" cy="458175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43" name="Rectangle: Top Corners Rounded 42">
                <a:extLst>
                  <a:ext uri="{FF2B5EF4-FFF2-40B4-BE49-F238E27FC236}">
                    <a16:creationId xmlns:a16="http://schemas.microsoft.com/office/drawing/2014/main" id="{27F5BB7E-D13B-7E8A-F733-250B950EE4DC}"/>
                  </a:ext>
                </a:extLst>
              </p:cNvPr>
              <p:cNvSpPr/>
              <p:nvPr/>
            </p:nvSpPr>
            <p:spPr>
              <a:xfrm flipV="1">
                <a:off x="2820464" y="2972282"/>
                <a:ext cx="836070" cy="458175"/>
              </a:xfrm>
              <a:prstGeom prst="round2SameRect">
                <a:avLst/>
              </a:prstGeom>
              <a:solidFill>
                <a:schemeClr val="bg1"/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EFA9E8BB-C2D8-0701-4E30-240CCDD56A8D}"/>
                  </a:ext>
                </a:extLst>
              </p:cNvPr>
              <p:cNvSpPr txBox="1"/>
              <p:nvPr/>
            </p:nvSpPr>
            <p:spPr>
              <a:xfrm>
                <a:off x="2826804" y="3011042"/>
                <a:ext cx="823390" cy="3390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871057">
                  <a:defRPr/>
                </a:pPr>
                <a:r>
                  <a:rPr lang="en-US" sz="1048" b="1" err="1">
                    <a:solidFill>
                      <a:srgbClr val="FF9933"/>
                    </a:solidFill>
                    <a:latin typeface="Calibri" panose="020F0502020204030204" pitchFamily="34" charset="0"/>
                  </a:rPr>
                  <a:t>Onland</a:t>
                </a:r>
                <a:r>
                  <a:rPr lang="en-IN" sz="1048" b="1">
                    <a:solidFill>
                      <a:srgbClr val="FF9933"/>
                    </a:solidFill>
                    <a:latin typeface="Calibri" panose="020F0502020204030204" pitchFamily="34" charset="0"/>
                  </a:rPr>
                  <a:t> </a:t>
                </a:r>
                <a:r>
                  <a:rPr lang="en-IN" sz="1048" b="1">
                    <a:solidFill>
                      <a:srgbClr val="000000"/>
                    </a:solidFill>
                    <a:latin typeface="Calibri" panose="020F0502020204030204" pitchFamily="34" charset="0"/>
                  </a:rPr>
                  <a:t>| </a:t>
                </a:r>
                <a:br>
                  <a:rPr lang="en-IN" sz="1048" b="1">
                    <a:solidFill>
                      <a:srgbClr val="000000"/>
                    </a:solidFill>
                    <a:latin typeface="Calibri" panose="020F0502020204030204" pitchFamily="34" charset="0"/>
                  </a:rPr>
                </a:br>
                <a:r>
                  <a:rPr lang="en-IN" sz="1048" b="1">
                    <a:solidFill>
                      <a:srgbClr val="264796"/>
                    </a:solidFill>
                    <a:latin typeface="Calibri" panose="020F0502020204030204" pitchFamily="34" charset="0"/>
                  </a:rPr>
                  <a:t>Offshore</a:t>
                </a:r>
                <a:endParaRPr lang="en-IN" sz="1048" b="1">
                  <a:solidFill>
                    <a:srgbClr val="264796"/>
                  </a:solidFill>
                  <a:latin typeface="Trebuchet MS"/>
                </a:endParaRPr>
              </a:p>
            </p:txBody>
          </p:sp>
        </p:grpSp>
        <p:graphicFrame>
          <p:nvGraphicFramePr>
            <p:cNvPr id="87" name="Chart 86">
              <a:extLst>
                <a:ext uri="{FF2B5EF4-FFF2-40B4-BE49-F238E27FC236}">
                  <a16:creationId xmlns:a16="http://schemas.microsoft.com/office/drawing/2014/main" id="{750D97E0-6DEB-425E-8B88-AC3336B3C7A6}"/>
                </a:ext>
              </a:extLst>
            </p:cNvPr>
            <p:cNvGraphicFramePr/>
            <p:nvPr>
              <p:custDataLst>
                <p:tags r:id="rId21"/>
              </p:custDataLst>
              <p:extLst>
                <p:ext uri="{D42A27DB-BD31-4B8C-83A1-F6EECF244321}">
                  <p14:modId xmlns:p14="http://schemas.microsoft.com/office/powerpoint/2010/main" val="3817384639"/>
                </p:ext>
              </p:extLst>
            </p:nvPr>
          </p:nvGraphicFramePr>
          <p:xfrm>
            <a:off x="2809908" y="1570129"/>
            <a:ext cx="2681198" cy="155004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8"/>
            </a:graphicData>
          </a:graphic>
        </p:graphicFrame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37530DA9-96A7-ACE3-B12C-DE717B0C7A89}"/>
                </a:ext>
              </a:extLst>
            </p:cNvPr>
            <p:cNvSpPr/>
            <p:nvPr/>
          </p:nvSpPr>
          <p:spPr>
            <a:xfrm>
              <a:off x="1975438" y="1649063"/>
              <a:ext cx="910695" cy="1660139"/>
            </a:xfrm>
            <a:custGeom>
              <a:avLst/>
              <a:gdLst>
                <a:gd name="connsiteX0" fmla="*/ 3248298 w 3248298"/>
                <a:gd name="connsiteY0" fmla="*/ 0 h 3066413"/>
                <a:gd name="connsiteX1" fmla="*/ 3248298 w 3248298"/>
                <a:gd name="connsiteY1" fmla="*/ 3066413 h 3066413"/>
                <a:gd name="connsiteX2" fmla="*/ 49081 w 3248298"/>
                <a:gd name="connsiteY2" fmla="*/ 1875414 h 3066413"/>
                <a:gd name="connsiteX3" fmla="*/ 49652 w 3248298"/>
                <a:gd name="connsiteY3" fmla="*/ 1875356 h 3066413"/>
                <a:gd name="connsiteX4" fmla="*/ 316559 w 3248298"/>
                <a:gd name="connsiteY4" fmla="*/ 1547872 h 3066413"/>
                <a:gd name="connsiteX5" fmla="*/ 49652 w 3248298"/>
                <a:gd name="connsiteY5" fmla="*/ 1220388 h 3066413"/>
                <a:gd name="connsiteX6" fmla="*/ 0 w 3248298"/>
                <a:gd name="connsiteY6" fmla="*/ 1215383 h 3066413"/>
                <a:gd name="connsiteX7" fmla="*/ 0 w 3248298"/>
                <a:gd name="connsiteY7" fmla="*/ 1209271 h 3066413"/>
                <a:gd name="connsiteX8" fmla="*/ 3248298 w 3248298"/>
                <a:gd name="connsiteY8" fmla="*/ 0 h 3066413"/>
                <a:gd name="connsiteX0" fmla="*/ 2968898 w 3248298"/>
                <a:gd name="connsiteY0" fmla="*/ 0 h 3256913"/>
                <a:gd name="connsiteX1" fmla="*/ 3248298 w 3248298"/>
                <a:gd name="connsiteY1" fmla="*/ 3256913 h 3256913"/>
                <a:gd name="connsiteX2" fmla="*/ 49081 w 3248298"/>
                <a:gd name="connsiteY2" fmla="*/ 2065914 h 3256913"/>
                <a:gd name="connsiteX3" fmla="*/ 49652 w 3248298"/>
                <a:gd name="connsiteY3" fmla="*/ 2065856 h 3256913"/>
                <a:gd name="connsiteX4" fmla="*/ 316559 w 3248298"/>
                <a:gd name="connsiteY4" fmla="*/ 1738372 h 3256913"/>
                <a:gd name="connsiteX5" fmla="*/ 49652 w 3248298"/>
                <a:gd name="connsiteY5" fmla="*/ 1410888 h 3256913"/>
                <a:gd name="connsiteX6" fmla="*/ 0 w 3248298"/>
                <a:gd name="connsiteY6" fmla="*/ 1405883 h 3256913"/>
                <a:gd name="connsiteX7" fmla="*/ 0 w 3248298"/>
                <a:gd name="connsiteY7" fmla="*/ 1399771 h 3256913"/>
                <a:gd name="connsiteX8" fmla="*/ 2968898 w 3248298"/>
                <a:gd name="connsiteY8" fmla="*/ 0 h 3256913"/>
                <a:gd name="connsiteX0" fmla="*/ 2968898 w 2968898"/>
                <a:gd name="connsiteY0" fmla="*/ 0 h 3066413"/>
                <a:gd name="connsiteX1" fmla="*/ 2879998 w 2968898"/>
                <a:gd name="connsiteY1" fmla="*/ 3066413 h 3066413"/>
                <a:gd name="connsiteX2" fmla="*/ 49081 w 2968898"/>
                <a:gd name="connsiteY2" fmla="*/ 2065914 h 3066413"/>
                <a:gd name="connsiteX3" fmla="*/ 49652 w 2968898"/>
                <a:gd name="connsiteY3" fmla="*/ 2065856 h 3066413"/>
                <a:gd name="connsiteX4" fmla="*/ 316559 w 2968898"/>
                <a:gd name="connsiteY4" fmla="*/ 1738372 h 3066413"/>
                <a:gd name="connsiteX5" fmla="*/ 49652 w 2968898"/>
                <a:gd name="connsiteY5" fmla="*/ 1410888 h 3066413"/>
                <a:gd name="connsiteX6" fmla="*/ 0 w 2968898"/>
                <a:gd name="connsiteY6" fmla="*/ 1405883 h 3066413"/>
                <a:gd name="connsiteX7" fmla="*/ 0 w 2968898"/>
                <a:gd name="connsiteY7" fmla="*/ 1399771 h 3066413"/>
                <a:gd name="connsiteX8" fmla="*/ 2968898 w 2968898"/>
                <a:gd name="connsiteY8" fmla="*/ 0 h 3066413"/>
                <a:gd name="connsiteX0" fmla="*/ 2968898 w 3032398"/>
                <a:gd name="connsiteY0" fmla="*/ 0 h 3079113"/>
                <a:gd name="connsiteX1" fmla="*/ 3032398 w 3032398"/>
                <a:gd name="connsiteY1" fmla="*/ 3079113 h 3079113"/>
                <a:gd name="connsiteX2" fmla="*/ 49081 w 3032398"/>
                <a:gd name="connsiteY2" fmla="*/ 2065914 h 3079113"/>
                <a:gd name="connsiteX3" fmla="*/ 49652 w 3032398"/>
                <a:gd name="connsiteY3" fmla="*/ 2065856 h 3079113"/>
                <a:gd name="connsiteX4" fmla="*/ 316559 w 3032398"/>
                <a:gd name="connsiteY4" fmla="*/ 1738372 h 3079113"/>
                <a:gd name="connsiteX5" fmla="*/ 49652 w 3032398"/>
                <a:gd name="connsiteY5" fmla="*/ 1410888 h 3079113"/>
                <a:gd name="connsiteX6" fmla="*/ 0 w 3032398"/>
                <a:gd name="connsiteY6" fmla="*/ 1405883 h 3079113"/>
                <a:gd name="connsiteX7" fmla="*/ 0 w 3032398"/>
                <a:gd name="connsiteY7" fmla="*/ 1399771 h 3079113"/>
                <a:gd name="connsiteX8" fmla="*/ 2968898 w 3032398"/>
                <a:gd name="connsiteY8" fmla="*/ 0 h 3079113"/>
                <a:gd name="connsiteX0" fmla="*/ 2930798 w 3032398"/>
                <a:gd name="connsiteY0" fmla="*/ 0 h 3091813"/>
                <a:gd name="connsiteX1" fmla="*/ 3032398 w 3032398"/>
                <a:gd name="connsiteY1" fmla="*/ 3091813 h 3091813"/>
                <a:gd name="connsiteX2" fmla="*/ 49081 w 3032398"/>
                <a:gd name="connsiteY2" fmla="*/ 2078614 h 3091813"/>
                <a:gd name="connsiteX3" fmla="*/ 49652 w 3032398"/>
                <a:gd name="connsiteY3" fmla="*/ 2078556 h 3091813"/>
                <a:gd name="connsiteX4" fmla="*/ 316559 w 3032398"/>
                <a:gd name="connsiteY4" fmla="*/ 1751072 h 3091813"/>
                <a:gd name="connsiteX5" fmla="*/ 49652 w 3032398"/>
                <a:gd name="connsiteY5" fmla="*/ 1423588 h 3091813"/>
                <a:gd name="connsiteX6" fmla="*/ 0 w 3032398"/>
                <a:gd name="connsiteY6" fmla="*/ 1418583 h 3091813"/>
                <a:gd name="connsiteX7" fmla="*/ 0 w 3032398"/>
                <a:gd name="connsiteY7" fmla="*/ 1412471 h 3091813"/>
                <a:gd name="connsiteX8" fmla="*/ 2930798 w 3032398"/>
                <a:gd name="connsiteY8" fmla="*/ 0 h 3091813"/>
                <a:gd name="connsiteX0" fmla="*/ 2930798 w 3032398"/>
                <a:gd name="connsiteY0" fmla="*/ 0 h 3452842"/>
                <a:gd name="connsiteX1" fmla="*/ 3032398 w 3032398"/>
                <a:gd name="connsiteY1" fmla="*/ 3091813 h 3452842"/>
                <a:gd name="connsiteX2" fmla="*/ 49081 w 3032398"/>
                <a:gd name="connsiteY2" fmla="*/ 2078614 h 3452842"/>
                <a:gd name="connsiteX3" fmla="*/ 627398 w 3032398"/>
                <a:gd name="connsiteY3" fmla="*/ 3452842 h 3452842"/>
                <a:gd name="connsiteX4" fmla="*/ 316559 w 3032398"/>
                <a:gd name="connsiteY4" fmla="*/ 1751072 h 3452842"/>
                <a:gd name="connsiteX5" fmla="*/ 49652 w 3032398"/>
                <a:gd name="connsiteY5" fmla="*/ 1423588 h 3452842"/>
                <a:gd name="connsiteX6" fmla="*/ 0 w 3032398"/>
                <a:gd name="connsiteY6" fmla="*/ 1418583 h 3452842"/>
                <a:gd name="connsiteX7" fmla="*/ 0 w 3032398"/>
                <a:gd name="connsiteY7" fmla="*/ 1412471 h 3452842"/>
                <a:gd name="connsiteX8" fmla="*/ 2930798 w 3032398"/>
                <a:gd name="connsiteY8" fmla="*/ 0 h 3452842"/>
                <a:gd name="connsiteX0" fmla="*/ 2930798 w 3032398"/>
                <a:gd name="connsiteY0" fmla="*/ 0 h 3452842"/>
                <a:gd name="connsiteX1" fmla="*/ 3032398 w 3032398"/>
                <a:gd name="connsiteY1" fmla="*/ 3091813 h 3452842"/>
                <a:gd name="connsiteX2" fmla="*/ 627398 w 3032398"/>
                <a:gd name="connsiteY2" fmla="*/ 3452842 h 3452842"/>
                <a:gd name="connsiteX3" fmla="*/ 316559 w 3032398"/>
                <a:gd name="connsiteY3" fmla="*/ 1751072 h 3452842"/>
                <a:gd name="connsiteX4" fmla="*/ 49652 w 3032398"/>
                <a:gd name="connsiteY4" fmla="*/ 1423588 h 3452842"/>
                <a:gd name="connsiteX5" fmla="*/ 0 w 3032398"/>
                <a:gd name="connsiteY5" fmla="*/ 1418583 h 3452842"/>
                <a:gd name="connsiteX6" fmla="*/ 0 w 3032398"/>
                <a:gd name="connsiteY6" fmla="*/ 1412471 h 3452842"/>
                <a:gd name="connsiteX7" fmla="*/ 2930798 w 3032398"/>
                <a:gd name="connsiteY7" fmla="*/ 0 h 3452842"/>
                <a:gd name="connsiteX0" fmla="*/ 2930798 w 3032398"/>
                <a:gd name="connsiteY0" fmla="*/ 0 h 3452842"/>
                <a:gd name="connsiteX1" fmla="*/ 3032398 w 3032398"/>
                <a:gd name="connsiteY1" fmla="*/ 3091813 h 3452842"/>
                <a:gd name="connsiteX2" fmla="*/ 627398 w 3032398"/>
                <a:gd name="connsiteY2" fmla="*/ 3452842 h 3452842"/>
                <a:gd name="connsiteX3" fmla="*/ 316559 w 3032398"/>
                <a:gd name="connsiteY3" fmla="*/ 1751072 h 3452842"/>
                <a:gd name="connsiteX4" fmla="*/ 49652 w 3032398"/>
                <a:gd name="connsiteY4" fmla="*/ 1423588 h 3452842"/>
                <a:gd name="connsiteX5" fmla="*/ 0 w 3032398"/>
                <a:gd name="connsiteY5" fmla="*/ 1418583 h 3452842"/>
                <a:gd name="connsiteX6" fmla="*/ 0 w 3032398"/>
                <a:gd name="connsiteY6" fmla="*/ 1412471 h 3452842"/>
                <a:gd name="connsiteX7" fmla="*/ 2930798 w 3032398"/>
                <a:gd name="connsiteY7" fmla="*/ 0 h 3452842"/>
                <a:gd name="connsiteX0" fmla="*/ 2930798 w 3032398"/>
                <a:gd name="connsiteY0" fmla="*/ 0 h 3452842"/>
                <a:gd name="connsiteX1" fmla="*/ 3032398 w 3032398"/>
                <a:gd name="connsiteY1" fmla="*/ 3091813 h 3452842"/>
                <a:gd name="connsiteX2" fmla="*/ 627398 w 3032398"/>
                <a:gd name="connsiteY2" fmla="*/ 3452842 h 3452842"/>
                <a:gd name="connsiteX3" fmla="*/ 49652 w 3032398"/>
                <a:gd name="connsiteY3" fmla="*/ 1423588 h 3452842"/>
                <a:gd name="connsiteX4" fmla="*/ 0 w 3032398"/>
                <a:gd name="connsiteY4" fmla="*/ 1418583 h 3452842"/>
                <a:gd name="connsiteX5" fmla="*/ 0 w 3032398"/>
                <a:gd name="connsiteY5" fmla="*/ 1412471 h 3452842"/>
                <a:gd name="connsiteX6" fmla="*/ 2930798 w 3032398"/>
                <a:gd name="connsiteY6" fmla="*/ 0 h 3452842"/>
                <a:gd name="connsiteX0" fmla="*/ 2930798 w 3032398"/>
                <a:gd name="connsiteY0" fmla="*/ 0 h 3452842"/>
                <a:gd name="connsiteX1" fmla="*/ 3032398 w 3032398"/>
                <a:gd name="connsiteY1" fmla="*/ 3091813 h 3452842"/>
                <a:gd name="connsiteX2" fmla="*/ 627398 w 3032398"/>
                <a:gd name="connsiteY2" fmla="*/ 3452842 h 3452842"/>
                <a:gd name="connsiteX3" fmla="*/ 49652 w 3032398"/>
                <a:gd name="connsiteY3" fmla="*/ 1423588 h 3452842"/>
                <a:gd name="connsiteX4" fmla="*/ 0 w 3032398"/>
                <a:gd name="connsiteY4" fmla="*/ 1418583 h 3452842"/>
                <a:gd name="connsiteX5" fmla="*/ 288873 w 3032398"/>
                <a:gd name="connsiteY5" fmla="*/ 2205329 h 3452842"/>
                <a:gd name="connsiteX6" fmla="*/ 2930798 w 3032398"/>
                <a:gd name="connsiteY6" fmla="*/ 0 h 3452842"/>
                <a:gd name="connsiteX0" fmla="*/ 2881145 w 2982745"/>
                <a:gd name="connsiteY0" fmla="*/ 0 h 3452842"/>
                <a:gd name="connsiteX1" fmla="*/ 2982745 w 2982745"/>
                <a:gd name="connsiteY1" fmla="*/ 3091813 h 3452842"/>
                <a:gd name="connsiteX2" fmla="*/ 577745 w 2982745"/>
                <a:gd name="connsiteY2" fmla="*/ 3452842 h 3452842"/>
                <a:gd name="connsiteX3" fmla="*/ -1 w 2982745"/>
                <a:gd name="connsiteY3" fmla="*/ 1423588 h 3452842"/>
                <a:gd name="connsiteX4" fmla="*/ 239220 w 2982745"/>
                <a:gd name="connsiteY4" fmla="*/ 2205329 h 3452842"/>
                <a:gd name="connsiteX5" fmla="*/ 2881145 w 2982745"/>
                <a:gd name="connsiteY5" fmla="*/ 0 h 3452842"/>
                <a:gd name="connsiteX0" fmla="*/ 2826401 w 2928001"/>
                <a:gd name="connsiteY0" fmla="*/ 0 h 3452842"/>
                <a:gd name="connsiteX1" fmla="*/ 2928001 w 2928001"/>
                <a:gd name="connsiteY1" fmla="*/ 3091813 h 3452842"/>
                <a:gd name="connsiteX2" fmla="*/ 523001 w 2928001"/>
                <a:gd name="connsiteY2" fmla="*/ 3452842 h 3452842"/>
                <a:gd name="connsiteX3" fmla="*/ 184476 w 2928001"/>
                <a:gd name="connsiteY3" fmla="*/ 2205329 h 3452842"/>
                <a:gd name="connsiteX4" fmla="*/ 2826401 w 2928001"/>
                <a:gd name="connsiteY4" fmla="*/ 0 h 3452842"/>
                <a:gd name="connsiteX0" fmla="*/ 2803852 w 2905452"/>
                <a:gd name="connsiteY0" fmla="*/ 0 h 3452842"/>
                <a:gd name="connsiteX1" fmla="*/ 2905452 w 2905452"/>
                <a:gd name="connsiteY1" fmla="*/ 3091813 h 3452842"/>
                <a:gd name="connsiteX2" fmla="*/ 500452 w 2905452"/>
                <a:gd name="connsiteY2" fmla="*/ 3452842 h 3452842"/>
                <a:gd name="connsiteX3" fmla="*/ 192877 w 2905452"/>
                <a:gd name="connsiteY3" fmla="*/ 2073186 h 3452842"/>
                <a:gd name="connsiteX4" fmla="*/ 2803852 w 2905452"/>
                <a:gd name="connsiteY4" fmla="*/ 0 h 3452842"/>
                <a:gd name="connsiteX0" fmla="*/ 2610975 w 2712575"/>
                <a:gd name="connsiteY0" fmla="*/ 0 h 3452842"/>
                <a:gd name="connsiteX1" fmla="*/ 2712575 w 2712575"/>
                <a:gd name="connsiteY1" fmla="*/ 3091813 h 3452842"/>
                <a:gd name="connsiteX2" fmla="*/ 307575 w 2712575"/>
                <a:gd name="connsiteY2" fmla="*/ 3452842 h 3452842"/>
                <a:gd name="connsiteX3" fmla="*/ 0 w 2712575"/>
                <a:gd name="connsiteY3" fmla="*/ 2073186 h 3452842"/>
                <a:gd name="connsiteX4" fmla="*/ 2610975 w 2712575"/>
                <a:gd name="connsiteY4" fmla="*/ 0 h 3452842"/>
                <a:gd name="connsiteX0" fmla="*/ 2610975 w 2712575"/>
                <a:gd name="connsiteY0" fmla="*/ 0 h 3452842"/>
                <a:gd name="connsiteX1" fmla="*/ 2712575 w 2712575"/>
                <a:gd name="connsiteY1" fmla="*/ 3091813 h 3452842"/>
                <a:gd name="connsiteX2" fmla="*/ 307575 w 2712575"/>
                <a:gd name="connsiteY2" fmla="*/ 3452842 h 3452842"/>
                <a:gd name="connsiteX3" fmla="*/ 0 w 2712575"/>
                <a:gd name="connsiteY3" fmla="*/ 2073186 h 3452842"/>
                <a:gd name="connsiteX4" fmla="*/ 2610975 w 2712575"/>
                <a:gd name="connsiteY4" fmla="*/ 0 h 3452842"/>
                <a:gd name="connsiteX0" fmla="*/ 2827630 w 2827630"/>
                <a:gd name="connsiteY0" fmla="*/ 0 h 5514273"/>
                <a:gd name="connsiteX1" fmla="*/ 2712575 w 2827630"/>
                <a:gd name="connsiteY1" fmla="*/ 5153244 h 5514273"/>
                <a:gd name="connsiteX2" fmla="*/ 307575 w 2827630"/>
                <a:gd name="connsiteY2" fmla="*/ 5514273 h 5514273"/>
                <a:gd name="connsiteX3" fmla="*/ 0 w 2827630"/>
                <a:gd name="connsiteY3" fmla="*/ 4134617 h 5514273"/>
                <a:gd name="connsiteX4" fmla="*/ 2827630 w 2827630"/>
                <a:gd name="connsiteY4" fmla="*/ 0 h 5514273"/>
                <a:gd name="connsiteX0" fmla="*/ 2827630 w 2827630"/>
                <a:gd name="connsiteY0" fmla="*/ 0 h 6289674"/>
                <a:gd name="connsiteX1" fmla="*/ 2784793 w 2827630"/>
                <a:gd name="connsiteY1" fmla="*/ 6289674 h 6289674"/>
                <a:gd name="connsiteX2" fmla="*/ 307575 w 2827630"/>
                <a:gd name="connsiteY2" fmla="*/ 5514273 h 6289674"/>
                <a:gd name="connsiteX3" fmla="*/ 0 w 2827630"/>
                <a:gd name="connsiteY3" fmla="*/ 4134617 h 6289674"/>
                <a:gd name="connsiteX4" fmla="*/ 2827630 w 2827630"/>
                <a:gd name="connsiteY4" fmla="*/ 0 h 6289674"/>
                <a:gd name="connsiteX0" fmla="*/ 2827630 w 2827630"/>
                <a:gd name="connsiteY0" fmla="*/ 0 h 6289674"/>
                <a:gd name="connsiteX1" fmla="*/ 2784793 w 2827630"/>
                <a:gd name="connsiteY1" fmla="*/ 6289674 h 6289674"/>
                <a:gd name="connsiteX2" fmla="*/ 678982 w 2827630"/>
                <a:gd name="connsiteY2" fmla="*/ 5625274 h 6289674"/>
                <a:gd name="connsiteX3" fmla="*/ 0 w 2827630"/>
                <a:gd name="connsiteY3" fmla="*/ 4134617 h 6289674"/>
                <a:gd name="connsiteX4" fmla="*/ 2827630 w 2827630"/>
                <a:gd name="connsiteY4" fmla="*/ 0 h 6289674"/>
                <a:gd name="connsiteX0" fmla="*/ 2827630 w 2827630"/>
                <a:gd name="connsiteY0" fmla="*/ 0 h 6289674"/>
                <a:gd name="connsiteX1" fmla="*/ 2784793 w 2827630"/>
                <a:gd name="connsiteY1" fmla="*/ 6289674 h 6289674"/>
                <a:gd name="connsiteX2" fmla="*/ 369476 w 2827630"/>
                <a:gd name="connsiteY2" fmla="*/ 5736274 h 6289674"/>
                <a:gd name="connsiteX3" fmla="*/ 0 w 2827630"/>
                <a:gd name="connsiteY3" fmla="*/ 4134617 h 6289674"/>
                <a:gd name="connsiteX4" fmla="*/ 2827630 w 2827630"/>
                <a:gd name="connsiteY4" fmla="*/ 0 h 6289674"/>
                <a:gd name="connsiteX0" fmla="*/ 2827630 w 2827630"/>
                <a:gd name="connsiteY0" fmla="*/ 0 h 6289674"/>
                <a:gd name="connsiteX1" fmla="*/ 2784793 w 2827630"/>
                <a:gd name="connsiteY1" fmla="*/ 6289674 h 6289674"/>
                <a:gd name="connsiteX2" fmla="*/ 369476 w 2827630"/>
                <a:gd name="connsiteY2" fmla="*/ 5736274 h 6289674"/>
                <a:gd name="connsiteX3" fmla="*/ 0 w 2827630"/>
                <a:gd name="connsiteY3" fmla="*/ 4134617 h 6289674"/>
                <a:gd name="connsiteX4" fmla="*/ 2827630 w 2827630"/>
                <a:gd name="connsiteY4" fmla="*/ 0 h 6289674"/>
                <a:gd name="connsiteX0" fmla="*/ 2458154 w 2458154"/>
                <a:gd name="connsiteY0" fmla="*/ 0 h 6289674"/>
                <a:gd name="connsiteX1" fmla="*/ 2415317 w 2458154"/>
                <a:gd name="connsiteY1" fmla="*/ 6289674 h 6289674"/>
                <a:gd name="connsiteX2" fmla="*/ 0 w 2458154"/>
                <a:gd name="connsiteY2" fmla="*/ 5736274 h 6289674"/>
                <a:gd name="connsiteX3" fmla="*/ 398100 w 2458154"/>
                <a:gd name="connsiteY3" fmla="*/ 4375646 h 6289674"/>
                <a:gd name="connsiteX4" fmla="*/ 2458154 w 2458154"/>
                <a:gd name="connsiteY4" fmla="*/ 0 h 6289674"/>
                <a:gd name="connsiteX0" fmla="*/ 2458154 w 2458154"/>
                <a:gd name="connsiteY0" fmla="*/ 0 h 6289674"/>
                <a:gd name="connsiteX1" fmla="*/ 2415317 w 2458154"/>
                <a:gd name="connsiteY1" fmla="*/ 6289674 h 6289674"/>
                <a:gd name="connsiteX2" fmla="*/ 0 w 2458154"/>
                <a:gd name="connsiteY2" fmla="*/ 5736274 h 6289674"/>
                <a:gd name="connsiteX3" fmla="*/ 398100 w 2458154"/>
                <a:gd name="connsiteY3" fmla="*/ 4375646 h 6289674"/>
                <a:gd name="connsiteX4" fmla="*/ 2458154 w 2458154"/>
                <a:gd name="connsiteY4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393148 w 2453202"/>
                <a:gd name="connsiteY3" fmla="*/ 4375646 h 6289674"/>
                <a:gd name="connsiteX4" fmla="*/ 2453202 w 2453202"/>
                <a:gd name="connsiteY4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393148 w 2453202"/>
                <a:gd name="connsiteY3" fmla="*/ 4375646 h 6289674"/>
                <a:gd name="connsiteX4" fmla="*/ 2453202 w 2453202"/>
                <a:gd name="connsiteY4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393148 w 2453202"/>
                <a:gd name="connsiteY3" fmla="*/ 4375646 h 6289674"/>
                <a:gd name="connsiteX4" fmla="*/ 2453202 w 2453202"/>
                <a:gd name="connsiteY4" fmla="*/ 0 h 6289674"/>
                <a:gd name="connsiteX0" fmla="*/ 2541334 w 2541334"/>
                <a:gd name="connsiteY0" fmla="*/ 0 h 6289674"/>
                <a:gd name="connsiteX1" fmla="*/ 2498497 w 2541334"/>
                <a:gd name="connsiteY1" fmla="*/ 6289674 h 6289674"/>
                <a:gd name="connsiteX2" fmla="*/ 88132 w 2541334"/>
                <a:gd name="connsiteY2" fmla="*/ 5787017 h 6289674"/>
                <a:gd name="connsiteX3" fmla="*/ 520559 w 2541334"/>
                <a:gd name="connsiteY3" fmla="*/ 5212247 h 6289674"/>
                <a:gd name="connsiteX4" fmla="*/ 481280 w 2541334"/>
                <a:gd name="connsiteY4" fmla="*/ 4375646 h 6289674"/>
                <a:gd name="connsiteX5" fmla="*/ 2541334 w 2541334"/>
                <a:gd name="connsiteY5" fmla="*/ 0 h 6289674"/>
                <a:gd name="connsiteX0" fmla="*/ 2541334 w 2541334"/>
                <a:gd name="connsiteY0" fmla="*/ 0 h 6289674"/>
                <a:gd name="connsiteX1" fmla="*/ 2498497 w 2541334"/>
                <a:gd name="connsiteY1" fmla="*/ 6289674 h 6289674"/>
                <a:gd name="connsiteX2" fmla="*/ 88132 w 2541334"/>
                <a:gd name="connsiteY2" fmla="*/ 5787017 h 6289674"/>
                <a:gd name="connsiteX3" fmla="*/ 520559 w 2541334"/>
                <a:gd name="connsiteY3" fmla="*/ 5212247 h 6289674"/>
                <a:gd name="connsiteX4" fmla="*/ 481280 w 2541334"/>
                <a:gd name="connsiteY4" fmla="*/ 4375646 h 6289674"/>
                <a:gd name="connsiteX5" fmla="*/ 2541334 w 2541334"/>
                <a:gd name="connsiteY5" fmla="*/ 0 h 6289674"/>
                <a:gd name="connsiteX0" fmla="*/ 2556640 w 2556640"/>
                <a:gd name="connsiteY0" fmla="*/ 0 h 6289674"/>
                <a:gd name="connsiteX1" fmla="*/ 2513803 w 2556640"/>
                <a:gd name="connsiteY1" fmla="*/ 6289674 h 6289674"/>
                <a:gd name="connsiteX2" fmla="*/ 103438 w 2556640"/>
                <a:gd name="connsiteY2" fmla="*/ 5787017 h 6289674"/>
                <a:gd name="connsiteX3" fmla="*/ 397206 w 2556640"/>
                <a:gd name="connsiteY3" fmla="*/ 5091732 h 6289674"/>
                <a:gd name="connsiteX4" fmla="*/ 496586 w 2556640"/>
                <a:gd name="connsiteY4" fmla="*/ 4375646 h 6289674"/>
                <a:gd name="connsiteX5" fmla="*/ 2556640 w 2556640"/>
                <a:gd name="connsiteY5" fmla="*/ 0 h 6289674"/>
                <a:gd name="connsiteX0" fmla="*/ 2556640 w 2556640"/>
                <a:gd name="connsiteY0" fmla="*/ 0 h 6289674"/>
                <a:gd name="connsiteX1" fmla="*/ 2513803 w 2556640"/>
                <a:gd name="connsiteY1" fmla="*/ 6289674 h 6289674"/>
                <a:gd name="connsiteX2" fmla="*/ 103438 w 2556640"/>
                <a:gd name="connsiteY2" fmla="*/ 5787017 h 6289674"/>
                <a:gd name="connsiteX3" fmla="*/ 397206 w 2556640"/>
                <a:gd name="connsiteY3" fmla="*/ 5091732 h 6289674"/>
                <a:gd name="connsiteX4" fmla="*/ 496586 w 2556640"/>
                <a:gd name="connsiteY4" fmla="*/ 4375646 h 6289674"/>
                <a:gd name="connsiteX5" fmla="*/ 2556640 w 2556640"/>
                <a:gd name="connsiteY5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293768 w 2453202"/>
                <a:gd name="connsiteY3" fmla="*/ 5091732 h 6289674"/>
                <a:gd name="connsiteX4" fmla="*/ 393148 w 2453202"/>
                <a:gd name="connsiteY4" fmla="*/ 4375646 h 6289674"/>
                <a:gd name="connsiteX5" fmla="*/ 2453202 w 2453202"/>
                <a:gd name="connsiteY5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293768 w 2453202"/>
                <a:gd name="connsiteY3" fmla="*/ 5091732 h 6289674"/>
                <a:gd name="connsiteX4" fmla="*/ 393148 w 2453202"/>
                <a:gd name="connsiteY4" fmla="*/ 4375646 h 6289674"/>
                <a:gd name="connsiteX5" fmla="*/ 2453202 w 2453202"/>
                <a:gd name="connsiteY5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293768 w 2453202"/>
                <a:gd name="connsiteY3" fmla="*/ 5091732 h 6289674"/>
                <a:gd name="connsiteX4" fmla="*/ 393148 w 2453202"/>
                <a:gd name="connsiteY4" fmla="*/ 4375646 h 6289674"/>
                <a:gd name="connsiteX5" fmla="*/ 2453202 w 2453202"/>
                <a:gd name="connsiteY5" fmla="*/ 0 h 6289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3202" h="6289674">
                  <a:moveTo>
                    <a:pt x="2453202" y="0"/>
                  </a:moveTo>
                  <a:lnTo>
                    <a:pt x="2410365" y="6289674"/>
                  </a:lnTo>
                  <a:lnTo>
                    <a:pt x="0" y="5787017"/>
                  </a:lnTo>
                  <a:cubicBezTo>
                    <a:pt x="279453" y="5119045"/>
                    <a:pt x="228243" y="5326960"/>
                    <a:pt x="293768" y="5091732"/>
                  </a:cubicBezTo>
                  <a:cubicBezTo>
                    <a:pt x="824791" y="4691591"/>
                    <a:pt x="719933" y="4508582"/>
                    <a:pt x="393148" y="4375646"/>
                  </a:cubicBezTo>
                  <a:lnTo>
                    <a:pt x="2453202" y="0"/>
                  </a:lnTo>
                  <a:close/>
                </a:path>
              </a:pathLst>
            </a:custGeom>
            <a:gradFill flip="none" rotWithShape="1">
              <a:gsLst>
                <a:gs pos="21000">
                  <a:schemeClr val="accent3">
                    <a:alpha val="77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 w="285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871057">
                <a:defRPr/>
              </a:pPr>
              <a:endParaRPr lang="en-US" sz="1715">
                <a:solidFill>
                  <a:prstClr val="white"/>
                </a:solidFill>
                <a:latin typeface="Trebuchet MS"/>
              </a:endParaRPr>
            </a:p>
          </p:txBody>
        </p:sp>
      </p:grpSp>
      <p:sp>
        <p:nvSpPr>
          <p:cNvPr id="130" name="Rectangle: Top Corners Rounded 129">
            <a:extLst>
              <a:ext uri="{FF2B5EF4-FFF2-40B4-BE49-F238E27FC236}">
                <a16:creationId xmlns:a16="http://schemas.microsoft.com/office/drawing/2014/main" id="{FB1E090B-7B6F-104B-980B-2ED7B894C07A}"/>
              </a:ext>
            </a:extLst>
          </p:cNvPr>
          <p:cNvSpPr/>
          <p:nvPr/>
        </p:nvSpPr>
        <p:spPr>
          <a:xfrm rot="5400000">
            <a:off x="978586" y="3730726"/>
            <a:ext cx="297911" cy="479380"/>
          </a:xfrm>
          <a:prstGeom prst="round2SameRect">
            <a:avLst>
              <a:gd name="adj1" fmla="val 23391"/>
              <a:gd name="adj2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endParaRPr lang="en-US" sz="1143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32" name="Rectangle: Top Corners Rounded 131">
            <a:extLst>
              <a:ext uri="{FF2B5EF4-FFF2-40B4-BE49-F238E27FC236}">
                <a16:creationId xmlns:a16="http://schemas.microsoft.com/office/drawing/2014/main" id="{AD64F51C-0EA2-9170-21D2-87E9D9F1E7A8}"/>
              </a:ext>
            </a:extLst>
          </p:cNvPr>
          <p:cNvSpPr/>
          <p:nvPr/>
        </p:nvSpPr>
        <p:spPr>
          <a:xfrm rot="5400000">
            <a:off x="68219" y="4963199"/>
            <a:ext cx="2117135" cy="477867"/>
          </a:xfrm>
          <a:prstGeom prst="round2SameRect">
            <a:avLst>
              <a:gd name="adj1" fmla="val 9689"/>
              <a:gd name="adj2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endParaRPr lang="en-US" sz="1143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FC66A7C-8C15-B88F-C881-F3EFA8D22448}"/>
              </a:ext>
            </a:extLst>
          </p:cNvPr>
          <p:cNvSpPr txBox="1"/>
          <p:nvPr/>
        </p:nvSpPr>
        <p:spPr>
          <a:xfrm>
            <a:off x="864992" y="5114192"/>
            <a:ext cx="522630" cy="17588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871057">
              <a:defRPr/>
            </a:pPr>
            <a:r>
              <a:rPr lang="en-US" sz="1143" dirty="0">
                <a:solidFill>
                  <a:prstClr val="white"/>
                </a:solidFill>
                <a:latin typeface="Trebuchet MS"/>
                <a:sym typeface="Trebuchet MS" panose="020B0603020202020204" pitchFamily="34" charset="0"/>
              </a:rPr>
              <a:t>Proven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B676F6F6-6FCA-CC8F-7621-28353D32392D}"/>
              </a:ext>
            </a:extLst>
          </p:cNvPr>
          <p:cNvSpPr txBox="1"/>
          <p:nvPr/>
        </p:nvSpPr>
        <p:spPr>
          <a:xfrm>
            <a:off x="872612" y="3882475"/>
            <a:ext cx="522630" cy="17588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871057">
              <a:defRPr/>
            </a:pPr>
            <a:r>
              <a:rPr lang="en-US" sz="1143" dirty="0">
                <a:solidFill>
                  <a:prstClr val="white"/>
                </a:solidFill>
                <a:latin typeface="Trebuchet MS"/>
                <a:sym typeface="Trebuchet MS" panose="020B0603020202020204" pitchFamily="34" charset="0"/>
              </a:rPr>
              <a:t>Known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B96340D-456C-4D5F-97C7-F0CA71FD22B6}"/>
              </a:ext>
            </a:extLst>
          </p:cNvPr>
          <p:cNvSpPr txBox="1"/>
          <p:nvPr/>
        </p:nvSpPr>
        <p:spPr>
          <a:xfrm>
            <a:off x="6294312" y="4210650"/>
            <a:ext cx="4654801" cy="23455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241294" indent="-241294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  <a:defRPr sz="1400"/>
            </a:lvl1pPr>
          </a:lstStyle>
          <a:p>
            <a:pPr marL="102881" lvl="1" algn="ctr" defTabSz="871057">
              <a:spcAft>
                <a:spcPts val="286"/>
              </a:spcAft>
              <a:buClr>
                <a:prstClr val="white"/>
              </a:buClr>
              <a:defRPr/>
            </a:pPr>
            <a:r>
              <a:rPr lang="en-US" sz="1524" b="1" dirty="0">
                <a:solidFill>
                  <a:srgbClr val="FFD700"/>
                </a:solidFill>
                <a:latin typeface="Trebuchet MS"/>
              </a:rPr>
              <a:t>Key characteristics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BBB450BB-BA9E-4974-B540-8CF885EA5F25}"/>
              </a:ext>
            </a:extLst>
          </p:cNvPr>
          <p:cNvCxnSpPr>
            <a:cxnSpLocks/>
          </p:cNvCxnSpPr>
          <p:nvPr/>
        </p:nvCxnSpPr>
        <p:spPr>
          <a:xfrm flipH="1">
            <a:off x="6428835" y="4530209"/>
            <a:ext cx="4654802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67F7DFF8-E898-4601-BCEF-4A4DF1A69035}"/>
              </a:ext>
            </a:extLst>
          </p:cNvPr>
          <p:cNvSpPr txBox="1"/>
          <p:nvPr/>
        </p:nvSpPr>
        <p:spPr>
          <a:xfrm>
            <a:off x="837776" y="694515"/>
            <a:ext cx="5102352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en-US" sz="1715" b="1" dirty="0">
                <a:solidFill>
                  <a:srgbClr val="BCF6D3"/>
                </a:solidFill>
                <a:latin typeface="Trebuchet MS"/>
              </a:rPr>
              <a:t>Proven resources in Mesozoic and Basemen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62352A16-BEAE-48A3-814A-52DFE8A5D8A5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3665834" y="6430070"/>
            <a:ext cx="170883" cy="127028"/>
          </a:xfrm>
          <a:prstGeom prst="rect">
            <a:avLst/>
          </a:prstGeom>
          <a:solidFill>
            <a:srgbClr val="5A5A5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6479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endParaRPr lang="en-US" sz="1143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EEA2338B-7EA3-4D7F-B7C2-62B40A576FEE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2121838" y="6430070"/>
            <a:ext cx="170883" cy="127028"/>
          </a:xfrm>
          <a:prstGeom prst="rect">
            <a:avLst/>
          </a:prstGeom>
          <a:solidFill>
            <a:srgbClr val="32B84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endParaRPr lang="en-US" sz="1143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72" name="Text Placeholder 3">
            <a:extLst>
              <a:ext uri="{FF2B5EF4-FFF2-40B4-BE49-F238E27FC236}">
                <a16:creationId xmlns:a16="http://schemas.microsoft.com/office/drawing/2014/main" id="{14B7A62E-817B-459E-B840-00199AAE295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341113" y="6414949"/>
            <a:ext cx="1227937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871057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53" dirty="0" err="1">
                <a:latin typeface="Trebuchet MS"/>
              </a:rPr>
              <a:t>Discovered_MMTOE</a:t>
            </a:r>
            <a:endParaRPr lang="en-US" sz="953" dirty="0">
              <a:latin typeface="Trebuchet MS"/>
            </a:endParaRPr>
          </a:p>
        </p:txBody>
      </p:sp>
      <p:sp>
        <p:nvSpPr>
          <p:cNvPr id="84" name="Text Placeholder 3">
            <a:extLst>
              <a:ext uri="{FF2B5EF4-FFF2-40B4-BE49-F238E27FC236}">
                <a16:creationId xmlns:a16="http://schemas.microsoft.com/office/drawing/2014/main" id="{E58F97CB-23B7-4D2D-B480-2DD129A541B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885108" y="6414949"/>
            <a:ext cx="1749660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871057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53" dirty="0" err="1">
                <a:latin typeface="Trebuchet MS"/>
              </a:rPr>
              <a:t>Undiscovered_MMTOE</a:t>
            </a:r>
            <a:endParaRPr lang="en-US" sz="953" dirty="0">
              <a:latin typeface="Trebuchet MS"/>
            </a:endParaRPr>
          </a:p>
        </p:txBody>
      </p:sp>
      <p:sp>
        <p:nvSpPr>
          <p:cNvPr id="90" name="Text Placeholder 3">
            <a:extLst>
              <a:ext uri="{FF2B5EF4-FFF2-40B4-BE49-F238E27FC236}">
                <a16:creationId xmlns:a16="http://schemas.microsoft.com/office/drawing/2014/main" id="{33882FB5-AFCA-42BF-8964-B5C85D1BCCE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502022" y="3875570"/>
            <a:ext cx="111906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64796"/>
                </a:solidFill>
              </a14:hiddenFill>
            </a:ext>
          </a:extLst>
        </p:spPr>
        <p:txBody>
          <a:bodyPr vert="horz" wrap="none" lIns="24196" tIns="0" rIns="24196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7A9271AB-7B8A-468D-8DFE-89B73331080D}" type="datetime'''''''''''''''''''''0'''''''''''''''''''''''''''''''''''''''">
              <a:rPr lang="en-US" altLang="en-US" sz="953"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0</a:t>
            </a:fld>
            <a:endParaRPr lang="en-US" sz="953" dirty="0">
              <a:latin typeface="Trebuchet M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ED58C3B-7144-4975-B461-0D9B2CB28626}"/>
              </a:ext>
            </a:extLst>
          </p:cNvPr>
          <p:cNvGrpSpPr/>
          <p:nvPr/>
        </p:nvGrpSpPr>
        <p:grpSpPr>
          <a:xfrm>
            <a:off x="6197026" y="1377735"/>
            <a:ext cx="5009837" cy="2418069"/>
            <a:chOff x="6197026" y="1251462"/>
            <a:chExt cx="5009837" cy="2418069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F1DFD310-1C6C-0BF0-5677-6BF54B7DD762}"/>
                </a:ext>
              </a:extLst>
            </p:cNvPr>
            <p:cNvGrpSpPr/>
            <p:nvPr/>
          </p:nvGrpSpPr>
          <p:grpSpPr>
            <a:xfrm>
              <a:off x="6197026" y="1251462"/>
              <a:ext cx="5009837" cy="2418069"/>
              <a:chOff x="-1089096" y="702733"/>
              <a:chExt cx="7858442" cy="4080998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EEF51A49-BEAB-3E3D-2DA3-0862576FB18D}"/>
                  </a:ext>
                </a:extLst>
              </p:cNvPr>
              <p:cNvSpPr/>
              <p:nvPr/>
            </p:nvSpPr>
            <p:spPr>
              <a:xfrm>
                <a:off x="-1089096" y="702733"/>
                <a:ext cx="7858442" cy="407287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71057">
                  <a:defRPr/>
                </a:pPr>
                <a:endParaRPr lang="en-US" sz="1715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48389E23-1E9C-EA32-3572-10A6B5468B31}"/>
                  </a:ext>
                </a:extLst>
              </p:cNvPr>
              <p:cNvSpPr/>
              <p:nvPr/>
            </p:nvSpPr>
            <p:spPr>
              <a:xfrm rot="5400000">
                <a:off x="-1081079" y="707661"/>
                <a:ext cx="946175" cy="946174"/>
              </a:xfrm>
              <a:custGeom>
                <a:avLst/>
                <a:gdLst>
                  <a:gd name="connsiteX0" fmla="*/ 0 w 914400"/>
                  <a:gd name="connsiteY0" fmla="*/ 914400 h 914400"/>
                  <a:gd name="connsiteX1" fmla="*/ 0 w 914400"/>
                  <a:gd name="connsiteY1" fmla="*/ 0 h 914400"/>
                  <a:gd name="connsiteX2" fmla="*/ 75334 w 914400"/>
                  <a:gd name="connsiteY2" fmla="*/ 75334 h 914400"/>
                  <a:gd name="connsiteX3" fmla="*/ 75334 w 914400"/>
                  <a:gd name="connsiteY3" fmla="*/ 844672 h 914400"/>
                  <a:gd name="connsiteX4" fmla="*/ 844672 w 914400"/>
                  <a:gd name="connsiteY4" fmla="*/ 844672 h 914400"/>
                  <a:gd name="connsiteX5" fmla="*/ 914400 w 914400"/>
                  <a:gd name="connsiteY5" fmla="*/ 9144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4400" h="914400">
                    <a:moveTo>
                      <a:pt x="0" y="914400"/>
                    </a:moveTo>
                    <a:lnTo>
                      <a:pt x="0" y="0"/>
                    </a:lnTo>
                    <a:lnTo>
                      <a:pt x="75334" y="75334"/>
                    </a:lnTo>
                    <a:lnTo>
                      <a:pt x="75334" y="844672"/>
                    </a:lnTo>
                    <a:lnTo>
                      <a:pt x="844672" y="844672"/>
                    </a:lnTo>
                    <a:lnTo>
                      <a:pt x="914400" y="91440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871057">
                  <a:defRPr/>
                </a:pPr>
                <a:endParaRPr lang="en-US" sz="1715">
                  <a:solidFill>
                    <a:prstClr val="white"/>
                  </a:solidFill>
                  <a:latin typeface="Trebuchet MS"/>
                </a:endParaRPr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5C7577B0-1F45-09FA-CBB8-2C3206289996}"/>
                  </a:ext>
                </a:extLst>
              </p:cNvPr>
              <p:cNvSpPr/>
              <p:nvPr/>
            </p:nvSpPr>
            <p:spPr>
              <a:xfrm rot="16200000">
                <a:off x="5823172" y="3837557"/>
                <a:ext cx="946174" cy="946174"/>
              </a:xfrm>
              <a:custGeom>
                <a:avLst/>
                <a:gdLst>
                  <a:gd name="connsiteX0" fmla="*/ 0 w 914400"/>
                  <a:gd name="connsiteY0" fmla="*/ 914400 h 914400"/>
                  <a:gd name="connsiteX1" fmla="*/ 0 w 914400"/>
                  <a:gd name="connsiteY1" fmla="*/ 0 h 914400"/>
                  <a:gd name="connsiteX2" fmla="*/ 75334 w 914400"/>
                  <a:gd name="connsiteY2" fmla="*/ 75334 h 914400"/>
                  <a:gd name="connsiteX3" fmla="*/ 75334 w 914400"/>
                  <a:gd name="connsiteY3" fmla="*/ 844672 h 914400"/>
                  <a:gd name="connsiteX4" fmla="*/ 844672 w 914400"/>
                  <a:gd name="connsiteY4" fmla="*/ 844672 h 914400"/>
                  <a:gd name="connsiteX5" fmla="*/ 914400 w 914400"/>
                  <a:gd name="connsiteY5" fmla="*/ 9144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14400" h="914400">
                    <a:moveTo>
                      <a:pt x="0" y="914400"/>
                    </a:moveTo>
                    <a:lnTo>
                      <a:pt x="0" y="0"/>
                    </a:lnTo>
                    <a:lnTo>
                      <a:pt x="75334" y="75334"/>
                    </a:lnTo>
                    <a:lnTo>
                      <a:pt x="75334" y="844672"/>
                    </a:lnTo>
                    <a:lnTo>
                      <a:pt x="844672" y="844672"/>
                    </a:lnTo>
                    <a:lnTo>
                      <a:pt x="914400" y="91440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871057">
                  <a:defRPr/>
                </a:pPr>
                <a:endParaRPr lang="en-US" sz="1715">
                  <a:solidFill>
                    <a:prstClr val="white"/>
                  </a:solidFill>
                  <a:latin typeface="Trebuchet MS"/>
                </a:endParaRPr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243383BC-294C-471E-D041-02BBE6C69342}"/>
                </a:ext>
              </a:extLst>
            </p:cNvPr>
            <p:cNvGrpSpPr/>
            <p:nvPr/>
          </p:nvGrpSpPr>
          <p:grpSpPr>
            <a:xfrm>
              <a:off x="7917845" y="1334183"/>
              <a:ext cx="1815106" cy="2207868"/>
              <a:chOff x="9539897" y="676587"/>
              <a:chExt cx="2637438" cy="3218068"/>
            </a:xfrm>
          </p:grpSpPr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939FC1EE-C64D-485C-0B52-B6A178BC436A}"/>
                  </a:ext>
                </a:extLst>
              </p:cNvPr>
              <p:cNvPicPr preferRelativeResize="0">
                <a:picLocks/>
              </p:cNvPicPr>
              <p:nvPr/>
            </p:nvPicPr>
            <p:blipFill rotWithShape="1">
              <a:blip r:embed="rId29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76" b="776"/>
              <a:stretch/>
            </p:blipFill>
            <p:spPr>
              <a:xfrm>
                <a:off x="9539897" y="676587"/>
                <a:ext cx="2522794" cy="3218068"/>
              </a:xfrm>
              <a:prstGeom prst="rect">
                <a:avLst/>
              </a:prstGeom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>
                    <a:solidFill>
                      <a:schemeClr val="tx1"/>
                    </a:solidFill>
                  </a14:hiddenLine>
                </a:ext>
              </a:extLst>
            </p:spPr>
          </p:pic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D4C5F915-BE7F-9D28-AEF9-AC5AF748693D}"/>
                  </a:ext>
                </a:extLst>
              </p:cNvPr>
              <p:cNvSpPr txBox="1"/>
              <p:nvPr/>
            </p:nvSpPr>
            <p:spPr>
              <a:xfrm>
                <a:off x="10036296" y="3379920"/>
                <a:ext cx="2141039" cy="39093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871057">
                  <a:defRPr/>
                </a:pPr>
                <a:r>
                  <a:rPr lang="sv-SE" sz="1143" dirty="0">
                    <a:solidFill>
                      <a:srgbClr val="FFFF00"/>
                    </a:solidFill>
                    <a:latin typeface="Trebuchet MS"/>
                  </a:rPr>
                  <a:t>Area| 27,155 sq km</a:t>
                </a:r>
              </a:p>
            </p:txBody>
          </p:sp>
        </p:grpSp>
        <p:sp>
          <p:nvSpPr>
            <p:cNvPr id="95" name="Rectangle 94"/>
            <p:cNvSpPr/>
            <p:nvPr/>
          </p:nvSpPr>
          <p:spPr>
            <a:xfrm>
              <a:off x="9934056" y="2916095"/>
              <a:ext cx="1152325" cy="231666"/>
            </a:xfrm>
            <a:prstGeom prst="rect">
              <a:avLst/>
            </a:prstGeom>
            <a:ln>
              <a:solidFill>
                <a:srgbClr val="92D050"/>
              </a:solidFill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71057">
                <a:lnSpc>
                  <a:spcPct val="95000"/>
                </a:lnSpc>
                <a:defRPr/>
              </a:pPr>
              <a:r>
                <a:rPr lang="it-IT" sz="953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Y-UDWHP-2022/1</a:t>
              </a:r>
              <a:endParaRPr lang="it-IT" sz="953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97" name="Straight Arrow Connector 96"/>
            <p:cNvCxnSpPr/>
            <p:nvPr/>
          </p:nvCxnSpPr>
          <p:spPr>
            <a:xfrm>
              <a:off x="8375234" y="3027473"/>
              <a:ext cx="1563364" cy="0"/>
            </a:xfrm>
            <a:prstGeom prst="straightConnector1">
              <a:avLst/>
            </a:prstGeom>
            <a:ln w="9525" cap="rnd">
              <a:solidFill>
                <a:srgbClr val="92D050"/>
              </a:solidFill>
              <a:prstDash val="solid"/>
              <a:round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TextBox 95"/>
            <p:cNvSpPr txBox="1"/>
            <p:nvPr/>
          </p:nvSpPr>
          <p:spPr>
            <a:xfrm>
              <a:off x="8270274" y="2929714"/>
              <a:ext cx="119036" cy="10479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71057"/>
              <a:r>
                <a:rPr lang="en-IN" sz="1143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0" name="TextBox 95"/>
            <p:cNvSpPr txBox="1"/>
            <p:nvPr/>
          </p:nvSpPr>
          <p:spPr>
            <a:xfrm>
              <a:off x="8345129" y="2761856"/>
              <a:ext cx="119036" cy="10479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71057"/>
              <a:r>
                <a:rPr lang="en-IN" sz="1143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01" name="TextBox 95"/>
            <p:cNvSpPr txBox="1"/>
            <p:nvPr/>
          </p:nvSpPr>
          <p:spPr>
            <a:xfrm>
              <a:off x="8415448" y="2612145"/>
              <a:ext cx="119036" cy="10479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71057"/>
              <a:r>
                <a:rPr lang="en-IN" sz="1143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6554206" y="2686989"/>
              <a:ext cx="1152325" cy="231666"/>
            </a:xfrm>
            <a:prstGeom prst="rect">
              <a:avLst/>
            </a:prstGeom>
            <a:ln>
              <a:solidFill>
                <a:srgbClr val="92D050"/>
              </a:solidFill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71057">
                <a:lnSpc>
                  <a:spcPct val="95000"/>
                </a:lnSpc>
                <a:defRPr/>
              </a:pPr>
              <a:r>
                <a:rPr lang="it-IT" sz="953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Y-UDWHP-2022/2</a:t>
              </a:r>
              <a:endParaRPr lang="it-IT" sz="953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103" name="Straight Arrow Connector 102"/>
            <p:cNvCxnSpPr/>
            <p:nvPr/>
          </p:nvCxnSpPr>
          <p:spPr>
            <a:xfrm flipH="1">
              <a:off x="7702000" y="2798367"/>
              <a:ext cx="607920" cy="0"/>
            </a:xfrm>
            <a:prstGeom prst="straightConnector1">
              <a:avLst/>
            </a:prstGeom>
            <a:ln w="9525" cap="rnd">
              <a:solidFill>
                <a:srgbClr val="92D050"/>
              </a:solidFill>
              <a:prstDash val="solid"/>
              <a:round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Rectangle 112"/>
            <p:cNvSpPr/>
            <p:nvPr/>
          </p:nvSpPr>
          <p:spPr>
            <a:xfrm>
              <a:off x="9934056" y="2533630"/>
              <a:ext cx="1152325" cy="231666"/>
            </a:xfrm>
            <a:prstGeom prst="rect">
              <a:avLst/>
            </a:prstGeom>
            <a:ln>
              <a:solidFill>
                <a:srgbClr val="92D050"/>
              </a:solidFill>
            </a:ln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71057">
                <a:lnSpc>
                  <a:spcPct val="95000"/>
                </a:lnSpc>
                <a:defRPr/>
              </a:pPr>
              <a:r>
                <a:rPr lang="it-IT" sz="953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Y-UDWHP-2022/3</a:t>
              </a:r>
              <a:endParaRPr lang="it-IT" sz="953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114" name="Straight Arrow Connector 113"/>
            <p:cNvCxnSpPr/>
            <p:nvPr/>
          </p:nvCxnSpPr>
          <p:spPr>
            <a:xfrm>
              <a:off x="8573337" y="2646389"/>
              <a:ext cx="1362992" cy="0"/>
            </a:xfrm>
            <a:prstGeom prst="straightConnector1">
              <a:avLst/>
            </a:prstGeom>
            <a:ln w="9525" cap="rnd">
              <a:solidFill>
                <a:srgbClr val="92D050"/>
              </a:solidFill>
              <a:prstDash val="solid"/>
              <a:round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6" name="Rectangle 85">
            <a:extLst>
              <a:ext uri="{FF2B5EF4-FFF2-40B4-BE49-F238E27FC236}">
                <a16:creationId xmlns:a16="http://schemas.microsoft.com/office/drawing/2014/main" id="{EECF5821-BD6E-4390-9D53-0D3CF1F7D62D}"/>
              </a:ext>
            </a:extLst>
          </p:cNvPr>
          <p:cNvSpPr/>
          <p:nvPr/>
        </p:nvSpPr>
        <p:spPr>
          <a:xfrm>
            <a:off x="11362100" y="6375158"/>
            <a:ext cx="358198" cy="39937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9C05711D-39C0-47CD-88C9-163E105E9F8B}"/>
              </a:ext>
            </a:extLst>
          </p:cNvPr>
          <p:cNvCxnSpPr/>
          <p:nvPr/>
        </p:nvCxnSpPr>
        <p:spPr>
          <a:xfrm>
            <a:off x="31554" y="579604"/>
            <a:ext cx="12124944" cy="0"/>
          </a:xfrm>
          <a:prstGeom prst="line">
            <a:avLst/>
          </a:prstGeom>
          <a:ln w="101600" cap="rnd" cmpd="thinThick">
            <a:solidFill>
              <a:schemeClr val="tx2">
                <a:lumMod val="5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>
            <a:extLst>
              <a:ext uri="{FF2B5EF4-FFF2-40B4-BE49-F238E27FC236}">
                <a16:creationId xmlns:a16="http://schemas.microsoft.com/office/drawing/2014/main" id="{2FBB44FA-A6A3-47DB-AA56-2F2537DF8D4C}"/>
              </a:ext>
            </a:extLst>
          </p:cNvPr>
          <p:cNvSpPr txBox="1"/>
          <p:nvPr/>
        </p:nvSpPr>
        <p:spPr>
          <a:xfrm>
            <a:off x="4602572" y="145886"/>
            <a:ext cx="2992027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>
            <a:spAutoFit/>
          </a:bodyPr>
          <a:lstStyle/>
          <a:p>
            <a:pPr algn="ctr" defTabSz="871057">
              <a:defRPr/>
            </a:pPr>
            <a:r>
              <a:rPr lang="en-US" sz="2400" b="1" dirty="0">
                <a:solidFill>
                  <a:srgbClr val="000066"/>
                </a:solidFill>
                <a:latin typeface="Trebuchet MS"/>
              </a:rPr>
              <a:t>Cauvery Basin</a:t>
            </a:r>
          </a:p>
        </p:txBody>
      </p:sp>
    </p:spTree>
    <p:extLst>
      <p:ext uri="{BB962C8B-B14F-4D97-AF65-F5344CB8AC3E}">
        <p14:creationId xmlns:p14="http://schemas.microsoft.com/office/powerpoint/2010/main" val="2409023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B0818230-DDBF-4F38-8876-DDBDA85E3FD6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6" b="776"/>
          <a:stretch/>
        </p:blipFill>
        <p:spPr>
          <a:xfrm>
            <a:off x="462138" y="1313100"/>
            <a:ext cx="2354346" cy="2869153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>
                <a:solidFill>
                  <a:schemeClr val="tx1"/>
                </a:solidFill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CD6C14E-AE29-4126-92A3-46982B9AD3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79737" y="1277872"/>
            <a:ext cx="5058286" cy="2961567"/>
          </a:xfrm>
          <a:prstGeom prst="rect">
            <a:avLst/>
          </a:prstGeom>
          <a:ln>
            <a:solidFill>
              <a:srgbClr val="37373A"/>
            </a:solidFill>
          </a:ln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EFB967-B05F-44F5-A9D5-4058FBF90A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90518" y="164078"/>
          <a:ext cx="1513" cy="1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EFB967-B05F-44F5-A9D5-4058FBF90A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90518" y="164078"/>
                        <a:ext cx="1513" cy="15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TextBox 127">
            <a:extLst>
              <a:ext uri="{FF2B5EF4-FFF2-40B4-BE49-F238E27FC236}">
                <a16:creationId xmlns:a16="http://schemas.microsoft.com/office/drawing/2014/main" id="{83748259-30C3-7C52-927C-FDB417034100}"/>
              </a:ext>
            </a:extLst>
          </p:cNvPr>
          <p:cNvSpPr txBox="1"/>
          <p:nvPr/>
        </p:nvSpPr>
        <p:spPr>
          <a:xfrm>
            <a:off x="983651" y="5522073"/>
            <a:ext cx="522630" cy="17588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871057">
              <a:defRPr/>
            </a:pPr>
            <a:r>
              <a:rPr lang="en-US" sz="1143">
                <a:solidFill>
                  <a:prstClr val="white"/>
                </a:solidFill>
                <a:latin typeface="Trebuchet MS"/>
                <a:sym typeface="Trebuchet MS" panose="020B0603020202020204" pitchFamily="34" charset="0"/>
              </a:rPr>
              <a:t>Proven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521B285-F4E0-4F14-AC97-FEB94C8A4DB1}"/>
              </a:ext>
            </a:extLst>
          </p:cNvPr>
          <p:cNvSpPr txBox="1"/>
          <p:nvPr/>
        </p:nvSpPr>
        <p:spPr>
          <a:xfrm>
            <a:off x="862812" y="699306"/>
            <a:ext cx="5102352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it-IT" sz="2286" b="1" dirty="0">
                <a:solidFill>
                  <a:srgbClr val="FFD700"/>
                </a:solidFill>
                <a:latin typeface="Trebuchet MS"/>
              </a:rPr>
              <a:t>Block Name: </a:t>
            </a:r>
            <a:r>
              <a:rPr lang="it-IT" sz="2286" b="1" dirty="0">
                <a:solidFill>
                  <a:prstClr val="white"/>
                </a:solidFill>
                <a:latin typeface="Trebuchet MS"/>
              </a:rPr>
              <a:t>CY-UDWHP-2022/1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A2183F-9855-4500-8F5D-5A334EB21C1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5942" y="4525485"/>
            <a:ext cx="5639080" cy="1449903"/>
          </a:xfrm>
          <a:prstGeom prst="rect">
            <a:avLst/>
          </a:prstGeom>
        </p:spPr>
      </p:pic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C3E0DB13-D812-41B4-A1D4-E8BBD399E0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6299901"/>
              </p:ext>
            </p:extLst>
          </p:nvPr>
        </p:nvGraphicFramePr>
        <p:xfrm>
          <a:off x="838147" y="4998051"/>
          <a:ext cx="4654669" cy="7609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6545">
                  <a:extLst>
                    <a:ext uri="{9D8B030D-6E8A-4147-A177-3AD203B41FA5}">
                      <a16:colId xmlns:a16="http://schemas.microsoft.com/office/drawing/2014/main" val="1509538704"/>
                    </a:ext>
                  </a:extLst>
                </a:gridCol>
                <a:gridCol w="1614062">
                  <a:extLst>
                    <a:ext uri="{9D8B030D-6E8A-4147-A177-3AD203B41FA5}">
                      <a16:colId xmlns:a16="http://schemas.microsoft.com/office/drawing/2014/main" val="2097548571"/>
                    </a:ext>
                  </a:extLst>
                </a:gridCol>
                <a:gridCol w="1614062">
                  <a:extLst>
                    <a:ext uri="{9D8B030D-6E8A-4147-A177-3AD203B41FA5}">
                      <a16:colId xmlns:a16="http://schemas.microsoft.com/office/drawing/2014/main" val="1377973221"/>
                    </a:ext>
                  </a:extLst>
                </a:gridCol>
              </a:tblGrid>
              <a:tr h="380454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2D (LKM)</a:t>
                      </a:r>
                      <a:endParaRPr lang="en-IN" sz="1600" dirty="0">
                        <a:solidFill>
                          <a:schemeClr val="bg1"/>
                        </a:solidFill>
                      </a:endParaRPr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3D (SKM)</a:t>
                      </a:r>
                      <a:endParaRPr lang="en-IN" sz="1600" dirty="0">
                        <a:solidFill>
                          <a:schemeClr val="bg1"/>
                        </a:solidFill>
                      </a:endParaRPr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Exp. Well</a:t>
                      </a:r>
                      <a:endParaRPr lang="en-IN" sz="1600" dirty="0">
                        <a:solidFill>
                          <a:schemeClr val="bg1"/>
                        </a:solidFill>
                      </a:endParaRPr>
                    </a:p>
                  </a:txBody>
                  <a:tcPr marL="87105" marR="87105" marT="43552" marB="43552"/>
                </a:tc>
                <a:extLst>
                  <a:ext uri="{0D108BD9-81ED-4DB2-BD59-A6C34878D82A}">
                    <a16:rowId xmlns:a16="http://schemas.microsoft.com/office/drawing/2014/main" val="7503980"/>
                  </a:ext>
                </a:extLst>
              </a:tr>
              <a:tr h="38045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2</a:t>
                      </a:r>
                    </a:p>
                  </a:txBody>
                  <a:tcPr marL="7259" marR="7259" marT="7259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88</a:t>
                      </a:r>
                    </a:p>
                  </a:txBody>
                  <a:tcPr marL="7259" marR="7259" marT="7259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il</a:t>
                      </a:r>
                    </a:p>
                  </a:txBody>
                  <a:tcPr marL="87105" marR="87105" marT="43552" marB="43552" anchor="ctr"/>
                </a:tc>
                <a:extLst>
                  <a:ext uri="{0D108BD9-81ED-4DB2-BD59-A6C34878D82A}">
                    <a16:rowId xmlns:a16="http://schemas.microsoft.com/office/drawing/2014/main" val="714915456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84E09A1E-C8EE-49B5-BE6F-36B8C775260B}"/>
              </a:ext>
            </a:extLst>
          </p:cNvPr>
          <p:cNvSpPr txBox="1"/>
          <p:nvPr/>
        </p:nvSpPr>
        <p:spPr>
          <a:xfrm>
            <a:off x="1177121" y="4586861"/>
            <a:ext cx="3885242" cy="34982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/>
            <a:r>
              <a:rPr lang="it-IT" sz="1715" b="1" kern="0" dirty="0">
                <a:solidFill>
                  <a:srgbClr val="FFD700"/>
                </a:solidFill>
                <a:latin typeface="Trebuchet MS"/>
              </a:rPr>
              <a:t>Data Availability</a:t>
            </a:r>
            <a:endParaRPr lang="en-IN" sz="1715" dirty="0" err="1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13D9414-D689-4C43-AC91-2B721D7F737E}"/>
              </a:ext>
            </a:extLst>
          </p:cNvPr>
          <p:cNvSpPr txBox="1">
            <a:spLocks/>
          </p:cNvSpPr>
          <p:nvPr/>
        </p:nvSpPr>
        <p:spPr>
          <a:xfrm>
            <a:off x="6274458" y="699012"/>
            <a:ext cx="5103798" cy="47491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en-IN" sz="2286" b="1" dirty="0">
                <a:solidFill>
                  <a:srgbClr val="FFD700"/>
                </a:solidFill>
                <a:latin typeface="Trebuchet MS"/>
              </a:rPr>
              <a:t>Block Area: </a:t>
            </a:r>
            <a:r>
              <a:rPr lang="en-IN" sz="2286" b="1" dirty="0">
                <a:solidFill>
                  <a:prstClr val="white"/>
                </a:solidFill>
                <a:latin typeface="Trebuchet MS"/>
              </a:rPr>
              <a:t>9,515 SQ K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F878A15-818C-45B8-BFE7-6200C71785BF}"/>
              </a:ext>
            </a:extLst>
          </p:cNvPr>
          <p:cNvSpPr txBox="1"/>
          <p:nvPr/>
        </p:nvSpPr>
        <p:spPr>
          <a:xfrm>
            <a:off x="8161445" y="1212849"/>
            <a:ext cx="3664216" cy="55903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4572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587" algn="ctr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</a:pPr>
            <a:r>
              <a:rPr lang="en-IN" sz="152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troleum System:</a:t>
            </a:r>
            <a:endParaRPr lang="en-US" sz="1334" dirty="0">
              <a:solidFill>
                <a:prstClr val="white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ource rock: 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te Jurassic to Early Cretaceous sequences</a:t>
            </a: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servoir: 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te </a:t>
            </a:r>
            <a:r>
              <a:rPr lang="en-IN" sz="133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ynrift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sequences, </a:t>
            </a:r>
            <a:r>
              <a:rPr lang="en-US" sz="133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owstand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sequences during Turonian, Late Coniacian-Santonian, Late Maastrichtian and Late Paleocene would result in the deposition of clastic reservoir facies in the Sub-Basin in the form of slope fans &amp; basin floor fans.</a:t>
            </a:r>
            <a:endParaRPr lang="en-IN" sz="133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trapment Mechanism: Fault 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losure , 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ratigraphic drape over structural highs, pinch-out traps and channel fills.</a:t>
            </a:r>
            <a:endParaRPr lang="en-IN" sz="133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visaged plays: 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asement, Cretaceous &amp; Older and Tertiary play.</a:t>
            </a: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ermogenic Petroleum System:</a:t>
            </a:r>
          </a:p>
          <a:p>
            <a:pPr marL="290513" indent="-166688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  <a:buFont typeface="+mj-lt"/>
              <a:buAutoNum type="arabicPeriod"/>
            </a:pP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iddle Jurassic – Jurassic, Early Cretaceous, Late Cretaceous (?)</a:t>
            </a:r>
          </a:p>
          <a:p>
            <a:pPr marL="290513" indent="-166688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  <a:buFont typeface="+mj-lt"/>
              <a:buAutoNum type="arabicPeriod"/>
            </a:pP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arly Cretaceous – Early Cretaceous, Late Cretaceous (?)</a:t>
            </a:r>
          </a:p>
          <a:p>
            <a:pPr marL="290513" indent="-166688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  <a:buFont typeface="+mj-lt"/>
              <a:buAutoNum type="arabicPeriod"/>
            </a:pP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te Cretaceous – Late Cretaceous (?)</a:t>
            </a: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iogenic Petroleum System:</a:t>
            </a:r>
          </a:p>
          <a:p>
            <a:pPr marL="290513" indent="-182563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  <a:buFont typeface="+mj-lt"/>
              <a:buAutoNum type="arabicPeriod"/>
            </a:pP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ligocene – Oligocene (?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B144D26-435E-49FF-B7B2-02C5F557FB71}"/>
              </a:ext>
            </a:extLst>
          </p:cNvPr>
          <p:cNvSpPr txBox="1"/>
          <p:nvPr/>
        </p:nvSpPr>
        <p:spPr>
          <a:xfrm>
            <a:off x="789584" y="6126968"/>
            <a:ext cx="4660315" cy="64197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defTabSz="871057">
              <a:lnSpc>
                <a:spcPct val="115000"/>
              </a:lnSpc>
            </a:pPr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arget p</a:t>
            </a:r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cs typeface="Mangal" panose="02040503050203030202" pitchFamily="18" charset="0"/>
              </a:rPr>
              <a:t>lays</a:t>
            </a:r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</a:t>
            </a:r>
            <a:r>
              <a:rPr lang="en-IN" sz="1600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aleocene</a:t>
            </a:r>
            <a:r>
              <a:rPr lang="en-IN" sz="16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Cretaceous &amp; Basement/ Technical basement  </a:t>
            </a: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5DACEF30-3F59-40C8-AA6E-5149470798B3}"/>
              </a:ext>
            </a:extLst>
          </p:cNvPr>
          <p:cNvSpPr txBox="1"/>
          <p:nvPr/>
        </p:nvSpPr>
        <p:spPr>
          <a:xfrm>
            <a:off x="1177113" y="4147613"/>
            <a:ext cx="1596539" cy="2827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defTabSz="871057">
              <a:lnSpc>
                <a:spcPct val="115000"/>
              </a:lnSpc>
              <a:spcAft>
                <a:spcPts val="953"/>
              </a:spcAft>
            </a:pPr>
            <a:r>
              <a:rPr lang="en-IN" sz="1143" b="1" dirty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ocation Map</a:t>
            </a:r>
            <a:endParaRPr lang="en-IN" sz="1048" dirty="0">
              <a:solidFill>
                <a:srgbClr val="002060"/>
              </a:solidFill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4CAF6A5-DFC2-4981-BA10-55A6C1B8B367}"/>
              </a:ext>
            </a:extLst>
          </p:cNvPr>
          <p:cNvSpPr txBox="1"/>
          <p:nvPr/>
        </p:nvSpPr>
        <p:spPr>
          <a:xfrm>
            <a:off x="1381120" y="3506744"/>
            <a:ext cx="1188523" cy="25058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defTabSz="871057">
              <a:lnSpc>
                <a:spcPct val="115000"/>
              </a:lnSpc>
              <a:spcAft>
                <a:spcPts val="953"/>
              </a:spcAft>
            </a:pPr>
            <a:r>
              <a:rPr lang="en-IN" sz="950" b="1" dirty="0">
                <a:solidFill>
                  <a:srgbClr val="66FF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Y-UDWHP-2022/1</a:t>
            </a:r>
            <a:endParaRPr lang="en-IN" sz="950" b="1" dirty="0">
              <a:solidFill>
                <a:srgbClr val="66FF33"/>
              </a:solidFill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06D94F2-0766-45A6-93E9-7F129C3D7B8B}"/>
              </a:ext>
            </a:extLst>
          </p:cNvPr>
          <p:cNvCxnSpPr>
            <a:cxnSpLocks/>
          </p:cNvCxnSpPr>
          <p:nvPr/>
        </p:nvCxnSpPr>
        <p:spPr>
          <a:xfrm>
            <a:off x="1110431" y="3506744"/>
            <a:ext cx="341070" cy="128364"/>
          </a:xfrm>
          <a:prstGeom prst="straightConnector1">
            <a:avLst/>
          </a:prstGeom>
          <a:ln w="9525" cap="rnd">
            <a:solidFill>
              <a:srgbClr val="66FF3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1187F9C1-A287-480A-9F7F-84F9536D8555}"/>
              </a:ext>
            </a:extLst>
          </p:cNvPr>
          <p:cNvSpPr txBox="1"/>
          <p:nvPr/>
        </p:nvSpPr>
        <p:spPr>
          <a:xfrm>
            <a:off x="3832256" y="4195464"/>
            <a:ext cx="2069411" cy="2827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defTabSz="871057">
              <a:lnSpc>
                <a:spcPct val="115000"/>
              </a:lnSpc>
              <a:spcAft>
                <a:spcPts val="953"/>
              </a:spcAft>
            </a:pPr>
            <a:r>
              <a:rPr lang="en-US" sz="1143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ative Seismic Section</a:t>
            </a:r>
            <a:endParaRPr lang="en-IN" sz="1143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C508015-9E98-4722-9866-5E49BE1C6901}"/>
              </a:ext>
            </a:extLst>
          </p:cNvPr>
          <p:cNvGrpSpPr/>
          <p:nvPr/>
        </p:nvGrpSpPr>
        <p:grpSpPr>
          <a:xfrm>
            <a:off x="6081091" y="4338782"/>
            <a:ext cx="1894302" cy="2373332"/>
            <a:chOff x="6207536" y="3824838"/>
            <a:chExt cx="1764761" cy="2503305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18D00F46-F1AC-40C8-BB78-C9B7266D207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207536" y="3824838"/>
              <a:ext cx="1764761" cy="250330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C9BABA83-6042-4AE1-8C8A-A0B82B500152}"/>
                </a:ext>
              </a:extLst>
            </p:cNvPr>
            <p:cNvGrpSpPr/>
            <p:nvPr/>
          </p:nvGrpSpPr>
          <p:grpSpPr>
            <a:xfrm>
              <a:off x="6649057" y="3896919"/>
              <a:ext cx="936481" cy="138218"/>
              <a:chOff x="6464244" y="848919"/>
              <a:chExt cx="936481" cy="138218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79F81212-AA0B-44E7-9D84-52FB4471EC9C}"/>
                  </a:ext>
                </a:extLst>
              </p:cNvPr>
              <p:cNvSpPr/>
              <p:nvPr/>
            </p:nvSpPr>
            <p:spPr>
              <a:xfrm>
                <a:off x="6464244" y="848919"/>
                <a:ext cx="936481" cy="138218"/>
              </a:xfrm>
              <a:prstGeom prst="rect">
                <a:avLst/>
              </a:prstGeom>
              <a:solidFill>
                <a:srgbClr val="FFFF99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71EA7B4-F0BE-4F45-AE3F-042ADCD35BF5}"/>
                  </a:ext>
                </a:extLst>
              </p:cNvPr>
              <p:cNvSpPr txBox="1"/>
              <p:nvPr/>
            </p:nvSpPr>
            <p:spPr>
              <a:xfrm>
                <a:off x="6540993" y="866944"/>
                <a:ext cx="811696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accent1">
                        <a:lumMod val="75000"/>
                        <a:lumOff val="25000"/>
                      </a:schemeClr>
                    </a:solidFill>
                  </a:rPr>
                  <a:t>CY-UDWHP-2022/1</a:t>
                </a:r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A48623A-C67E-47C1-A269-D168295F57CC}"/>
                </a:ext>
              </a:extLst>
            </p:cNvPr>
            <p:cNvSpPr txBox="1"/>
            <p:nvPr/>
          </p:nvSpPr>
          <p:spPr>
            <a:xfrm>
              <a:off x="7089916" y="5883707"/>
              <a:ext cx="811677" cy="267253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algn="just" defTabSz="871057">
                <a:lnSpc>
                  <a:spcPct val="115000"/>
                </a:lnSpc>
                <a:spcAft>
                  <a:spcPts val="953"/>
                </a:spcAft>
                <a:defRPr/>
              </a:pPr>
              <a:r>
                <a:rPr lang="en-IN" sz="1050" b="1" dirty="0">
                  <a:solidFill>
                    <a:srgbClr val="000000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Base  Map</a:t>
              </a:r>
              <a:endParaRPr lang="en-IN" sz="900" dirty="0">
                <a:solidFill>
                  <a:prstClr val="whit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Mangal" panose="02040503050203030202" pitchFamily="18" charset="0"/>
              </a:endParaRPr>
            </a:p>
          </p:txBody>
        </p: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8809D5F-0AAC-46EB-BB83-E9669AFC72C5}"/>
              </a:ext>
            </a:extLst>
          </p:cNvPr>
          <p:cNvCxnSpPr/>
          <p:nvPr/>
        </p:nvCxnSpPr>
        <p:spPr>
          <a:xfrm>
            <a:off x="31554" y="579604"/>
            <a:ext cx="12124944" cy="0"/>
          </a:xfrm>
          <a:prstGeom prst="line">
            <a:avLst/>
          </a:prstGeom>
          <a:ln w="101600" cap="rnd" cmpd="thinThick">
            <a:solidFill>
              <a:schemeClr val="tx2">
                <a:lumMod val="5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914473B5-E219-4092-9D4D-61E22B4392E6}"/>
              </a:ext>
            </a:extLst>
          </p:cNvPr>
          <p:cNvSpPr txBox="1"/>
          <p:nvPr/>
        </p:nvSpPr>
        <p:spPr>
          <a:xfrm>
            <a:off x="4602572" y="145886"/>
            <a:ext cx="2992027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>
            <a:spAutoFit/>
          </a:bodyPr>
          <a:lstStyle/>
          <a:p>
            <a:pPr algn="ctr" defTabSz="871057">
              <a:defRPr/>
            </a:pPr>
            <a:r>
              <a:rPr lang="en-US" sz="2400" b="1" dirty="0">
                <a:solidFill>
                  <a:srgbClr val="000066"/>
                </a:solidFill>
                <a:latin typeface="Trebuchet MS"/>
              </a:rPr>
              <a:t>Cauvery Basin</a:t>
            </a:r>
          </a:p>
        </p:txBody>
      </p:sp>
    </p:spTree>
    <p:extLst>
      <p:ext uri="{BB962C8B-B14F-4D97-AF65-F5344CB8AC3E}">
        <p14:creationId xmlns:p14="http://schemas.microsoft.com/office/powerpoint/2010/main" val="12516808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B0818230-DDBF-4F38-8876-DDBDA85E3FD6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6" b="776"/>
          <a:stretch/>
        </p:blipFill>
        <p:spPr>
          <a:xfrm>
            <a:off x="366339" y="1271742"/>
            <a:ext cx="2354346" cy="2869153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>
                <a:solidFill>
                  <a:schemeClr val="tx1"/>
                </a:solidFill>
              </a14:hiddenLine>
            </a:ext>
          </a:extLst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EFB967-B05F-44F5-A9D5-4058FBF90A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90518" y="164078"/>
          <a:ext cx="1513" cy="1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EFB967-B05F-44F5-A9D5-4058FBF90A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90518" y="164078"/>
                        <a:ext cx="1513" cy="15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TextBox 127">
            <a:extLst>
              <a:ext uri="{FF2B5EF4-FFF2-40B4-BE49-F238E27FC236}">
                <a16:creationId xmlns:a16="http://schemas.microsoft.com/office/drawing/2014/main" id="{83748259-30C3-7C52-927C-FDB417034100}"/>
              </a:ext>
            </a:extLst>
          </p:cNvPr>
          <p:cNvSpPr txBox="1"/>
          <p:nvPr/>
        </p:nvSpPr>
        <p:spPr>
          <a:xfrm>
            <a:off x="887852" y="5464231"/>
            <a:ext cx="522630" cy="17588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871057">
              <a:defRPr/>
            </a:pPr>
            <a:r>
              <a:rPr lang="en-US" sz="1143">
                <a:solidFill>
                  <a:prstClr val="white"/>
                </a:solidFill>
                <a:latin typeface="Trebuchet MS"/>
                <a:sym typeface="Trebuchet MS" panose="020B0603020202020204" pitchFamily="34" charset="0"/>
              </a:rPr>
              <a:t>Proven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521B285-F4E0-4F14-AC97-FEB94C8A4DB1}"/>
              </a:ext>
            </a:extLst>
          </p:cNvPr>
          <p:cNvSpPr txBox="1"/>
          <p:nvPr/>
        </p:nvSpPr>
        <p:spPr>
          <a:xfrm>
            <a:off x="888212" y="696048"/>
            <a:ext cx="5102352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it-IT" sz="2286" b="1" dirty="0">
                <a:solidFill>
                  <a:srgbClr val="FFD700"/>
                </a:solidFill>
                <a:latin typeface="Trebuchet MS"/>
              </a:rPr>
              <a:t>Block Name: </a:t>
            </a:r>
            <a:r>
              <a:rPr lang="it-IT" sz="2286" b="1" dirty="0">
                <a:solidFill>
                  <a:prstClr val="white"/>
                </a:solidFill>
                <a:latin typeface="Trebuchet MS"/>
              </a:rPr>
              <a:t>CY-UDWHP-2022/2</a:t>
            </a:r>
            <a:r>
              <a:rPr lang="it-IT" sz="2286" b="1" dirty="0">
                <a:solidFill>
                  <a:srgbClr val="FFD700"/>
                </a:solidFill>
                <a:latin typeface="Trebuchet MS"/>
              </a:rPr>
              <a:t> </a:t>
            </a:r>
            <a:endParaRPr lang="it-IT" sz="2286" b="1" dirty="0">
              <a:solidFill>
                <a:prstClr val="white"/>
              </a:solidFill>
              <a:latin typeface="Trebuchet M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A2183F-9855-4500-8F5D-5A334EB21C1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0143" y="4505743"/>
            <a:ext cx="5639080" cy="1449903"/>
          </a:xfrm>
          <a:prstGeom prst="rect">
            <a:avLst/>
          </a:prstGeom>
        </p:spPr>
      </p:pic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C3E0DB13-D812-41B4-A1D4-E8BBD399E0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1013126"/>
              </p:ext>
            </p:extLst>
          </p:nvPr>
        </p:nvGraphicFramePr>
        <p:xfrm>
          <a:off x="742348" y="4931136"/>
          <a:ext cx="4654669" cy="7609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6545">
                  <a:extLst>
                    <a:ext uri="{9D8B030D-6E8A-4147-A177-3AD203B41FA5}">
                      <a16:colId xmlns:a16="http://schemas.microsoft.com/office/drawing/2014/main" val="1509538704"/>
                    </a:ext>
                  </a:extLst>
                </a:gridCol>
                <a:gridCol w="1614062">
                  <a:extLst>
                    <a:ext uri="{9D8B030D-6E8A-4147-A177-3AD203B41FA5}">
                      <a16:colId xmlns:a16="http://schemas.microsoft.com/office/drawing/2014/main" val="2097548571"/>
                    </a:ext>
                  </a:extLst>
                </a:gridCol>
                <a:gridCol w="1614062">
                  <a:extLst>
                    <a:ext uri="{9D8B030D-6E8A-4147-A177-3AD203B41FA5}">
                      <a16:colId xmlns:a16="http://schemas.microsoft.com/office/drawing/2014/main" val="1377973221"/>
                    </a:ext>
                  </a:extLst>
                </a:gridCol>
              </a:tblGrid>
              <a:tr h="380454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2D (LKM)</a:t>
                      </a:r>
                      <a:endParaRPr lang="en-IN" sz="1600" dirty="0">
                        <a:solidFill>
                          <a:schemeClr val="bg1"/>
                        </a:solidFill>
                      </a:endParaRPr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3D (SKM)</a:t>
                      </a:r>
                      <a:endParaRPr lang="en-IN" sz="1600" dirty="0">
                        <a:solidFill>
                          <a:schemeClr val="bg1"/>
                        </a:solidFill>
                      </a:endParaRPr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Exp. Well</a:t>
                      </a:r>
                      <a:endParaRPr lang="en-IN" sz="1600" dirty="0">
                        <a:solidFill>
                          <a:schemeClr val="bg1"/>
                        </a:solidFill>
                      </a:endParaRPr>
                    </a:p>
                  </a:txBody>
                  <a:tcPr marL="87105" marR="87105" marT="43552" marB="43552"/>
                </a:tc>
                <a:extLst>
                  <a:ext uri="{0D108BD9-81ED-4DB2-BD59-A6C34878D82A}">
                    <a16:rowId xmlns:a16="http://schemas.microsoft.com/office/drawing/2014/main" val="7503980"/>
                  </a:ext>
                </a:extLst>
              </a:tr>
              <a:tr h="38045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92</a:t>
                      </a:r>
                    </a:p>
                  </a:txBody>
                  <a:tcPr marL="7259" marR="7259" marT="7259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811</a:t>
                      </a:r>
                    </a:p>
                  </a:txBody>
                  <a:tcPr marL="7259" marR="7259" marT="7259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7105" marR="87105" marT="43552" marB="43552" anchor="ctr"/>
                </a:tc>
                <a:extLst>
                  <a:ext uri="{0D108BD9-81ED-4DB2-BD59-A6C34878D82A}">
                    <a16:rowId xmlns:a16="http://schemas.microsoft.com/office/drawing/2014/main" val="714915456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84E09A1E-C8EE-49B5-BE6F-36B8C775260B}"/>
              </a:ext>
            </a:extLst>
          </p:cNvPr>
          <p:cNvSpPr txBox="1"/>
          <p:nvPr/>
        </p:nvSpPr>
        <p:spPr>
          <a:xfrm>
            <a:off x="1081322" y="4529019"/>
            <a:ext cx="3885242" cy="34982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/>
            <a:r>
              <a:rPr lang="it-IT" sz="1715" b="1" kern="0" dirty="0">
                <a:solidFill>
                  <a:srgbClr val="FFD700"/>
                </a:solidFill>
                <a:latin typeface="Trebuchet MS"/>
              </a:rPr>
              <a:t>Data Availability</a:t>
            </a:r>
            <a:endParaRPr lang="en-IN" sz="1715" dirty="0" err="1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13D9414-D689-4C43-AC91-2B721D7F737E}"/>
              </a:ext>
            </a:extLst>
          </p:cNvPr>
          <p:cNvSpPr txBox="1">
            <a:spLocks/>
          </p:cNvSpPr>
          <p:nvPr/>
        </p:nvSpPr>
        <p:spPr>
          <a:xfrm>
            <a:off x="6274458" y="690324"/>
            <a:ext cx="5103798" cy="47491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en-IN" sz="2286" b="1" dirty="0">
                <a:solidFill>
                  <a:srgbClr val="FFD700"/>
                </a:solidFill>
                <a:latin typeface="Trebuchet MS"/>
              </a:rPr>
              <a:t>Block Area: </a:t>
            </a:r>
            <a:r>
              <a:rPr lang="en-IN" sz="2286" b="1" dirty="0">
                <a:solidFill>
                  <a:prstClr val="white"/>
                </a:solidFill>
                <a:latin typeface="Trebuchet MS"/>
              </a:rPr>
              <a:t>9,845  SQ K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F878A15-818C-45B8-BFE7-6200C71785BF}"/>
              </a:ext>
            </a:extLst>
          </p:cNvPr>
          <p:cNvSpPr txBox="1"/>
          <p:nvPr/>
        </p:nvSpPr>
        <p:spPr>
          <a:xfrm>
            <a:off x="8099390" y="1208982"/>
            <a:ext cx="3648473" cy="558212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4572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587" algn="ctr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</a:pPr>
            <a:r>
              <a:rPr lang="en-IN" sz="152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troleum System:</a:t>
            </a:r>
            <a:endParaRPr lang="en-US" sz="1334" dirty="0">
              <a:solidFill>
                <a:prstClr val="white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ource rock: 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te Jurassic to Early Cretaceous sequences</a:t>
            </a: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servoir: 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te </a:t>
            </a:r>
            <a:r>
              <a:rPr lang="en-IN" sz="133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ynrift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sequences, </a:t>
            </a:r>
            <a:r>
              <a:rPr lang="en-US" sz="133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owstand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sequences during Turonian, Late Coniacian-Santonian, Late Maastrichtian and Late Paleocene would result in the deposition of clastic reservoir facies in the Sub-Basin in the form of slope fans &amp; basin floor fans.</a:t>
            </a:r>
            <a:endParaRPr lang="en-IN" sz="133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trapment Mechanism: Fault 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losure , 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ratigraphic drape over structural highs, pinch-out traps and channel fills.</a:t>
            </a:r>
            <a:endParaRPr lang="en-IN" sz="133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visaged plays: 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asement, Cretaceous &amp; Older and Tertiary play.</a:t>
            </a: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ermogenic Petroleum System:</a:t>
            </a:r>
          </a:p>
          <a:p>
            <a:pPr marL="290513" indent="-182563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  <a:buFont typeface="+mj-lt"/>
              <a:buAutoNum type="arabicPeriod"/>
            </a:pP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iddle Jurassic – Jurassic, Early Cretaceous, Late Cretaceous (?)</a:t>
            </a:r>
          </a:p>
          <a:p>
            <a:pPr marL="290513" indent="-182563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  <a:buFont typeface="+mj-lt"/>
              <a:buAutoNum type="arabicPeriod"/>
            </a:pP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arly Cretaceous – Early Cretaceous, Late Cretaceous (?)</a:t>
            </a:r>
          </a:p>
          <a:p>
            <a:pPr marL="290513" indent="-182563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  <a:buFont typeface="+mj-lt"/>
              <a:buAutoNum type="arabicPeriod"/>
            </a:pP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te Cretaceous – Late Cretaceous (?)</a:t>
            </a: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iogenic Petroleum System:</a:t>
            </a:r>
          </a:p>
          <a:p>
            <a:pPr marL="290513" indent="-182563" defTabSz="871057">
              <a:lnSpc>
                <a:spcPct val="115000"/>
              </a:lnSpc>
              <a:spcBef>
                <a:spcPts val="95"/>
              </a:spcBef>
              <a:spcAft>
                <a:spcPts val="95"/>
              </a:spcAft>
              <a:buFont typeface="+mj-lt"/>
              <a:buAutoNum type="arabicPeriod"/>
            </a:pP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ligocene – Oligocene (?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B144D26-435E-49FF-B7B2-02C5F557FB71}"/>
              </a:ext>
            </a:extLst>
          </p:cNvPr>
          <p:cNvSpPr txBox="1"/>
          <p:nvPr/>
        </p:nvSpPr>
        <p:spPr>
          <a:xfrm>
            <a:off x="619827" y="6084979"/>
            <a:ext cx="4808232" cy="64197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defTabSz="871057">
              <a:lnSpc>
                <a:spcPct val="115000"/>
              </a:lnSpc>
            </a:pPr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arget </a:t>
            </a:r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cs typeface="Mangal" panose="02040503050203030202" pitchFamily="18" charset="0"/>
              </a:rPr>
              <a:t>plays</a:t>
            </a:r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</a:t>
            </a:r>
            <a:r>
              <a:rPr lang="en-IN" sz="1600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aleocene</a:t>
            </a:r>
            <a:r>
              <a:rPr lang="en-IN" sz="16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Cretaceous &amp; Basement/ Technical basement  </a:t>
            </a: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5DACEF30-3F59-40C8-AA6E-5149470798B3}"/>
              </a:ext>
            </a:extLst>
          </p:cNvPr>
          <p:cNvSpPr txBox="1"/>
          <p:nvPr/>
        </p:nvSpPr>
        <p:spPr>
          <a:xfrm>
            <a:off x="960440" y="4140896"/>
            <a:ext cx="1596539" cy="2827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defTabSz="871057">
              <a:lnSpc>
                <a:spcPct val="115000"/>
              </a:lnSpc>
              <a:spcAft>
                <a:spcPts val="953"/>
              </a:spcAft>
            </a:pPr>
            <a:r>
              <a:rPr lang="en-IN" sz="1143" b="1" dirty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ocation Map</a:t>
            </a:r>
            <a:endParaRPr lang="en-IN" sz="1048" dirty="0">
              <a:solidFill>
                <a:srgbClr val="002060"/>
              </a:solidFill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4CAF6A5-DFC2-4981-BA10-55A6C1B8B367}"/>
              </a:ext>
            </a:extLst>
          </p:cNvPr>
          <p:cNvSpPr txBox="1"/>
          <p:nvPr/>
        </p:nvSpPr>
        <p:spPr>
          <a:xfrm>
            <a:off x="1368302" y="3268297"/>
            <a:ext cx="1188677" cy="25058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defTabSz="871057">
              <a:lnSpc>
                <a:spcPct val="115000"/>
              </a:lnSpc>
              <a:spcAft>
                <a:spcPts val="953"/>
              </a:spcAft>
            </a:pPr>
            <a:r>
              <a:rPr lang="en-IN" sz="950" b="1" dirty="0">
                <a:solidFill>
                  <a:srgbClr val="66FF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Y-UDWHP-2022/2</a:t>
            </a:r>
            <a:endParaRPr lang="en-IN" sz="950" dirty="0">
              <a:solidFill>
                <a:srgbClr val="66FF33"/>
              </a:solidFill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06D94F2-0766-45A6-93E9-7F129C3D7B8B}"/>
              </a:ext>
            </a:extLst>
          </p:cNvPr>
          <p:cNvCxnSpPr>
            <a:cxnSpLocks/>
          </p:cNvCxnSpPr>
          <p:nvPr/>
        </p:nvCxnSpPr>
        <p:spPr>
          <a:xfrm>
            <a:off x="1149167" y="3234414"/>
            <a:ext cx="280742" cy="166953"/>
          </a:xfrm>
          <a:prstGeom prst="straightConnector1">
            <a:avLst/>
          </a:prstGeom>
          <a:ln w="9525" cap="rnd">
            <a:solidFill>
              <a:srgbClr val="66FF3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EC2BE4C4-0867-4E6E-B5C3-9AFA9A8867D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32861" y="1245792"/>
            <a:ext cx="5030745" cy="2802118"/>
          </a:xfrm>
          <a:prstGeom prst="rect">
            <a:avLst/>
          </a:prstGeom>
          <a:ln>
            <a:solidFill>
              <a:srgbClr val="37373A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7169309-E783-4905-B728-66524C6B6361}"/>
              </a:ext>
            </a:extLst>
          </p:cNvPr>
          <p:cNvSpPr txBox="1"/>
          <p:nvPr/>
        </p:nvSpPr>
        <p:spPr>
          <a:xfrm>
            <a:off x="3867369" y="4027197"/>
            <a:ext cx="2069411" cy="2827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defTabSz="871057">
              <a:lnSpc>
                <a:spcPct val="115000"/>
              </a:lnSpc>
              <a:spcAft>
                <a:spcPts val="953"/>
              </a:spcAft>
            </a:pPr>
            <a:r>
              <a:rPr lang="en-US" sz="1143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ative Seismic Section</a:t>
            </a:r>
            <a:endParaRPr lang="en-IN" sz="1143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B9A79C7-658C-4C68-B49D-93231CE39D04}"/>
              </a:ext>
            </a:extLst>
          </p:cNvPr>
          <p:cNvGrpSpPr/>
          <p:nvPr/>
        </p:nvGrpSpPr>
        <p:grpSpPr>
          <a:xfrm>
            <a:off x="5898951" y="4190746"/>
            <a:ext cx="2008568" cy="2600358"/>
            <a:chOff x="6023336" y="3700381"/>
            <a:chExt cx="1790652" cy="2509140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56A364C7-8510-43CD-9775-E8653736E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023336" y="3700381"/>
              <a:ext cx="1790652" cy="250914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E93D5DF-9BBD-48EB-84CC-E9A24299EA74}"/>
                </a:ext>
              </a:extLst>
            </p:cNvPr>
            <p:cNvSpPr txBox="1"/>
            <p:nvPr/>
          </p:nvSpPr>
          <p:spPr>
            <a:xfrm>
              <a:off x="6853696" y="5813222"/>
              <a:ext cx="811677" cy="267253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algn="just" defTabSz="871057">
                <a:lnSpc>
                  <a:spcPct val="115000"/>
                </a:lnSpc>
                <a:spcAft>
                  <a:spcPts val="953"/>
                </a:spcAft>
                <a:defRPr/>
              </a:pPr>
              <a:r>
                <a:rPr lang="en-IN" sz="1050" b="1" dirty="0">
                  <a:solidFill>
                    <a:srgbClr val="000000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Base  Map</a:t>
              </a:r>
              <a:endParaRPr lang="en-IN" sz="900" dirty="0">
                <a:solidFill>
                  <a:prstClr val="whit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Mangal" panose="02040503050203030202" pitchFamily="18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01AC3775-A522-4DD7-8C9E-7E205C63523C}"/>
                </a:ext>
              </a:extLst>
            </p:cNvPr>
            <p:cNvSpPr/>
            <p:nvPr/>
          </p:nvSpPr>
          <p:spPr>
            <a:xfrm>
              <a:off x="6504277" y="3780714"/>
              <a:ext cx="936481" cy="138218"/>
            </a:xfrm>
            <a:prstGeom prst="rect">
              <a:avLst/>
            </a:prstGeom>
            <a:solidFill>
              <a:srgbClr val="FFFF99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57752F9-F72A-440A-85D1-A116E0EE5380}"/>
                </a:ext>
              </a:extLst>
            </p:cNvPr>
            <p:cNvSpPr txBox="1"/>
            <p:nvPr/>
          </p:nvSpPr>
          <p:spPr>
            <a:xfrm>
              <a:off x="6629062" y="3795962"/>
              <a:ext cx="811696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00" b="1" dirty="0">
                  <a:solidFill>
                    <a:schemeClr val="accent1">
                      <a:lumMod val="75000"/>
                      <a:lumOff val="25000"/>
                    </a:schemeClr>
                  </a:solidFill>
                </a:rPr>
                <a:t>CY-UDWHP-2022/2</a:t>
              </a:r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D324509-50C4-49C0-BF63-3DDDA53F99B9}"/>
              </a:ext>
            </a:extLst>
          </p:cNvPr>
          <p:cNvCxnSpPr/>
          <p:nvPr/>
        </p:nvCxnSpPr>
        <p:spPr>
          <a:xfrm>
            <a:off x="31554" y="579604"/>
            <a:ext cx="12124944" cy="0"/>
          </a:xfrm>
          <a:prstGeom prst="line">
            <a:avLst/>
          </a:prstGeom>
          <a:ln w="101600" cap="rnd" cmpd="thinThick">
            <a:solidFill>
              <a:schemeClr val="tx2">
                <a:lumMod val="5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550811D5-6F3D-4E11-9CEC-592C440567AF}"/>
              </a:ext>
            </a:extLst>
          </p:cNvPr>
          <p:cNvSpPr txBox="1"/>
          <p:nvPr/>
        </p:nvSpPr>
        <p:spPr>
          <a:xfrm>
            <a:off x="4602572" y="145886"/>
            <a:ext cx="2992027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>
            <a:spAutoFit/>
          </a:bodyPr>
          <a:lstStyle/>
          <a:p>
            <a:pPr algn="ctr" defTabSz="871057">
              <a:defRPr/>
            </a:pPr>
            <a:r>
              <a:rPr lang="en-US" sz="2400" b="1" dirty="0">
                <a:solidFill>
                  <a:srgbClr val="000066"/>
                </a:solidFill>
                <a:latin typeface="Trebuchet MS"/>
              </a:rPr>
              <a:t>Cauvery Basin</a:t>
            </a:r>
          </a:p>
        </p:txBody>
      </p:sp>
    </p:spTree>
    <p:extLst>
      <p:ext uri="{BB962C8B-B14F-4D97-AF65-F5344CB8AC3E}">
        <p14:creationId xmlns:p14="http://schemas.microsoft.com/office/powerpoint/2010/main" val="42936196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B0818230-DDBF-4F38-8876-DDBDA85E3FD6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6" b="776"/>
          <a:stretch/>
        </p:blipFill>
        <p:spPr>
          <a:xfrm>
            <a:off x="366339" y="1223833"/>
            <a:ext cx="2354346" cy="2869153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>
                <a:solidFill>
                  <a:schemeClr val="tx1"/>
                </a:solidFill>
              </a14:hiddenLine>
            </a:ext>
          </a:extLst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EFB967-B05F-44F5-A9D5-4058FBF90A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90518" y="164078"/>
          <a:ext cx="1513" cy="1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EFB967-B05F-44F5-A9D5-4058FBF90A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90518" y="164078"/>
                        <a:ext cx="1513" cy="15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TextBox 127">
            <a:extLst>
              <a:ext uri="{FF2B5EF4-FFF2-40B4-BE49-F238E27FC236}">
                <a16:creationId xmlns:a16="http://schemas.microsoft.com/office/drawing/2014/main" id="{83748259-30C3-7C52-927C-FDB417034100}"/>
              </a:ext>
            </a:extLst>
          </p:cNvPr>
          <p:cNvSpPr txBox="1"/>
          <p:nvPr/>
        </p:nvSpPr>
        <p:spPr>
          <a:xfrm>
            <a:off x="887852" y="5508280"/>
            <a:ext cx="522630" cy="17588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871057">
              <a:defRPr/>
            </a:pPr>
            <a:r>
              <a:rPr lang="en-US" sz="1143">
                <a:solidFill>
                  <a:prstClr val="white"/>
                </a:solidFill>
                <a:latin typeface="Trebuchet MS"/>
                <a:sym typeface="Trebuchet MS" panose="020B0603020202020204" pitchFamily="34" charset="0"/>
              </a:rPr>
              <a:t>Proven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521B285-F4E0-4F14-AC97-FEB94C8A4DB1}"/>
              </a:ext>
            </a:extLst>
          </p:cNvPr>
          <p:cNvSpPr txBox="1"/>
          <p:nvPr/>
        </p:nvSpPr>
        <p:spPr>
          <a:xfrm>
            <a:off x="880956" y="694580"/>
            <a:ext cx="5102352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it-IT" sz="2286" b="1" dirty="0">
                <a:solidFill>
                  <a:srgbClr val="FFD700"/>
                </a:solidFill>
                <a:latin typeface="Trebuchet MS"/>
              </a:rPr>
              <a:t>Block Name: </a:t>
            </a:r>
            <a:r>
              <a:rPr lang="it-IT" sz="2286" b="1" dirty="0">
                <a:solidFill>
                  <a:prstClr val="white"/>
                </a:solidFill>
                <a:latin typeface="Trebuchet MS"/>
              </a:rPr>
              <a:t>CY-UDWHP-2022/3</a:t>
            </a:r>
            <a:r>
              <a:rPr lang="it-IT" sz="2286" b="1" dirty="0">
                <a:solidFill>
                  <a:srgbClr val="FFD700"/>
                </a:solidFill>
                <a:latin typeface="Trebuchet MS"/>
              </a:rPr>
              <a:t> </a:t>
            </a:r>
            <a:endParaRPr lang="it-IT" sz="2286" b="1" dirty="0">
              <a:solidFill>
                <a:prstClr val="white"/>
              </a:solidFill>
              <a:latin typeface="Trebuchet M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A2183F-9855-4500-8F5D-5A334EB21C1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0143" y="4511692"/>
            <a:ext cx="5639080" cy="1449903"/>
          </a:xfrm>
          <a:prstGeom prst="rect">
            <a:avLst/>
          </a:prstGeom>
        </p:spPr>
      </p:pic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C3E0DB13-D812-41B4-A1D4-E8BBD399E0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6122234"/>
              </p:ext>
            </p:extLst>
          </p:nvPr>
        </p:nvGraphicFramePr>
        <p:xfrm>
          <a:off x="742348" y="4975185"/>
          <a:ext cx="4654669" cy="8146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6545">
                  <a:extLst>
                    <a:ext uri="{9D8B030D-6E8A-4147-A177-3AD203B41FA5}">
                      <a16:colId xmlns:a16="http://schemas.microsoft.com/office/drawing/2014/main" val="1509538704"/>
                    </a:ext>
                  </a:extLst>
                </a:gridCol>
                <a:gridCol w="1614062">
                  <a:extLst>
                    <a:ext uri="{9D8B030D-6E8A-4147-A177-3AD203B41FA5}">
                      <a16:colId xmlns:a16="http://schemas.microsoft.com/office/drawing/2014/main" val="2097548571"/>
                    </a:ext>
                  </a:extLst>
                </a:gridCol>
                <a:gridCol w="1614062">
                  <a:extLst>
                    <a:ext uri="{9D8B030D-6E8A-4147-A177-3AD203B41FA5}">
                      <a16:colId xmlns:a16="http://schemas.microsoft.com/office/drawing/2014/main" val="1377973221"/>
                    </a:ext>
                  </a:extLst>
                </a:gridCol>
              </a:tblGrid>
              <a:tr h="380454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2D (LKM)</a:t>
                      </a:r>
                      <a:endParaRPr lang="en-IN" sz="1600" dirty="0">
                        <a:solidFill>
                          <a:schemeClr val="bg1"/>
                        </a:solidFill>
                      </a:endParaRPr>
                    </a:p>
                  </a:txBody>
                  <a:tcPr marL="87105" marR="87105" marT="43552" marB="435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3D (SKM)</a:t>
                      </a:r>
                      <a:endParaRPr lang="en-IN" sz="1600" dirty="0">
                        <a:solidFill>
                          <a:schemeClr val="bg1"/>
                        </a:solidFill>
                      </a:endParaRPr>
                    </a:p>
                  </a:txBody>
                  <a:tcPr marL="87105" marR="87105" marT="43552" marB="4355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Exp. Well</a:t>
                      </a:r>
                      <a:endParaRPr lang="en-IN" sz="1600" dirty="0">
                        <a:solidFill>
                          <a:schemeClr val="bg1"/>
                        </a:solidFill>
                      </a:endParaRPr>
                    </a:p>
                  </a:txBody>
                  <a:tcPr marL="87105" marR="87105" marT="43552" marB="43552" anchor="ctr"/>
                </a:tc>
                <a:extLst>
                  <a:ext uri="{0D108BD9-81ED-4DB2-BD59-A6C34878D82A}">
                    <a16:rowId xmlns:a16="http://schemas.microsoft.com/office/drawing/2014/main" val="7503980"/>
                  </a:ext>
                </a:extLst>
              </a:tr>
              <a:tr h="434148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94</a:t>
                      </a:r>
                    </a:p>
                  </a:txBody>
                  <a:tcPr marL="7259" marR="7259" marT="725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444</a:t>
                      </a:r>
                    </a:p>
                  </a:txBody>
                  <a:tcPr marL="7259" marR="7259" marT="7259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IN" sz="1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87105" marR="87105" marT="43552" marB="43552" anchor="ctr"/>
                </a:tc>
                <a:extLst>
                  <a:ext uri="{0D108BD9-81ED-4DB2-BD59-A6C34878D82A}">
                    <a16:rowId xmlns:a16="http://schemas.microsoft.com/office/drawing/2014/main" val="714915456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84E09A1E-C8EE-49B5-BE6F-36B8C775260B}"/>
              </a:ext>
            </a:extLst>
          </p:cNvPr>
          <p:cNvSpPr txBox="1"/>
          <p:nvPr/>
        </p:nvSpPr>
        <p:spPr>
          <a:xfrm>
            <a:off x="1081322" y="4573068"/>
            <a:ext cx="3885242" cy="34982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/>
            <a:r>
              <a:rPr lang="it-IT" sz="1715" b="1" kern="0" dirty="0">
                <a:solidFill>
                  <a:srgbClr val="FFD700"/>
                </a:solidFill>
                <a:latin typeface="Trebuchet MS"/>
              </a:rPr>
              <a:t>Data Availability</a:t>
            </a:r>
            <a:endParaRPr lang="en-IN" sz="1715" dirty="0" err="1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13D9414-D689-4C43-AC91-2B721D7F737E}"/>
              </a:ext>
            </a:extLst>
          </p:cNvPr>
          <p:cNvSpPr txBox="1">
            <a:spLocks/>
          </p:cNvSpPr>
          <p:nvPr/>
        </p:nvSpPr>
        <p:spPr>
          <a:xfrm>
            <a:off x="6274458" y="695753"/>
            <a:ext cx="5103798" cy="47491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en-IN" sz="2286" b="1" dirty="0">
                <a:solidFill>
                  <a:srgbClr val="FFD700"/>
                </a:solidFill>
                <a:latin typeface="Trebuchet MS"/>
              </a:rPr>
              <a:t>Block Area: </a:t>
            </a:r>
            <a:r>
              <a:rPr lang="en-IN" sz="2286" b="1" dirty="0">
                <a:solidFill>
                  <a:prstClr val="white"/>
                </a:solidFill>
                <a:latin typeface="Trebuchet MS"/>
              </a:rPr>
              <a:t>7,795 SQ K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F878A15-818C-45B8-BFE7-6200C71785BF}"/>
              </a:ext>
            </a:extLst>
          </p:cNvPr>
          <p:cNvSpPr txBox="1"/>
          <p:nvPr/>
        </p:nvSpPr>
        <p:spPr>
          <a:xfrm>
            <a:off x="8221316" y="1218397"/>
            <a:ext cx="3604346" cy="559093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4572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587" algn="ctr" defTabSz="871057">
              <a:lnSpc>
                <a:spcPct val="115000"/>
              </a:lnSpc>
              <a:spcBef>
                <a:spcPts val="95"/>
              </a:spcBef>
              <a:spcAft>
                <a:spcPts val="191"/>
              </a:spcAft>
            </a:pPr>
            <a:r>
              <a:rPr lang="en-IN" sz="152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troleum System:</a:t>
            </a:r>
            <a:endParaRPr lang="en-US" sz="1334" dirty="0">
              <a:solidFill>
                <a:prstClr val="white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191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ource rock: 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te Jurassic to Early Cretaceous sequences</a:t>
            </a: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191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servoir: 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te </a:t>
            </a:r>
            <a:r>
              <a:rPr lang="en-IN" sz="133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ynrift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sequences, </a:t>
            </a:r>
            <a:r>
              <a:rPr lang="en-US" sz="133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owstand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sequences during Turonian, Late Coniacian-Santonian, Late Maastrichtian and Late Paleocene would result in the deposition of clastic reservoir facies in the Sub-Basin in the form of slope fans &amp; basin floor fans.</a:t>
            </a:r>
            <a:endParaRPr lang="en-IN" sz="133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191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trapment Mechanism: Fault 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losure , 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ratigraphic drape over structural highs, pinch-out traps and channel fills.</a:t>
            </a:r>
            <a:endParaRPr lang="en-IN" sz="133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191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visaged plays: 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asement, Cretaceous &amp; Older and Tertiary play.</a:t>
            </a: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191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ermogenic Petroleum System:</a:t>
            </a:r>
          </a:p>
          <a:p>
            <a:pPr marL="290513" indent="-182563" defTabSz="871057">
              <a:lnSpc>
                <a:spcPct val="115000"/>
              </a:lnSpc>
              <a:spcBef>
                <a:spcPts val="95"/>
              </a:spcBef>
              <a:spcAft>
                <a:spcPts val="191"/>
              </a:spcAft>
              <a:buFont typeface="+mj-lt"/>
              <a:buAutoNum type="arabicPeriod"/>
            </a:pP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iddle Jurassic – Jurassic, Early Cretaceous, Late Cretaceous (?)</a:t>
            </a:r>
          </a:p>
          <a:p>
            <a:pPr marL="290513" indent="-182563" defTabSz="871057">
              <a:lnSpc>
                <a:spcPct val="115000"/>
              </a:lnSpc>
              <a:spcBef>
                <a:spcPts val="95"/>
              </a:spcBef>
              <a:spcAft>
                <a:spcPts val="191"/>
              </a:spcAft>
              <a:buFont typeface="+mj-lt"/>
              <a:buAutoNum type="arabicPeriod"/>
            </a:pP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arly Cretaceous – Early Cretaceous, Late Cretaceous (?)</a:t>
            </a:r>
          </a:p>
          <a:p>
            <a:pPr marL="290513" indent="-182563" defTabSz="871057">
              <a:lnSpc>
                <a:spcPct val="115000"/>
              </a:lnSpc>
              <a:spcBef>
                <a:spcPts val="95"/>
              </a:spcBef>
              <a:spcAft>
                <a:spcPts val="191"/>
              </a:spcAft>
              <a:buFont typeface="+mj-lt"/>
              <a:buAutoNum type="arabicPeriod"/>
            </a:pP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te Cretaceous – Late Cretaceous (?)</a:t>
            </a:r>
          </a:p>
          <a:p>
            <a:pPr marL="68587" defTabSz="871057">
              <a:lnSpc>
                <a:spcPct val="115000"/>
              </a:lnSpc>
              <a:spcBef>
                <a:spcPts val="95"/>
              </a:spcBef>
              <a:spcAft>
                <a:spcPts val="191"/>
              </a:spcAft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iogenic Petroleum System:</a:t>
            </a:r>
          </a:p>
          <a:p>
            <a:pPr marL="290513" indent="-182563" defTabSz="871057">
              <a:lnSpc>
                <a:spcPct val="115000"/>
              </a:lnSpc>
              <a:spcBef>
                <a:spcPts val="95"/>
              </a:spcBef>
              <a:spcAft>
                <a:spcPts val="191"/>
              </a:spcAft>
              <a:buFont typeface="+mj-lt"/>
              <a:buAutoNum type="arabicPeriod"/>
            </a:pP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ligocene – Oligocene (?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B144D26-435E-49FF-B7B2-02C5F557FB71}"/>
              </a:ext>
            </a:extLst>
          </p:cNvPr>
          <p:cNvSpPr txBox="1"/>
          <p:nvPr/>
        </p:nvSpPr>
        <p:spPr>
          <a:xfrm>
            <a:off x="880956" y="6183475"/>
            <a:ext cx="4492122" cy="35881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defTabSz="871057">
              <a:lnSpc>
                <a:spcPct val="115000"/>
              </a:lnSpc>
            </a:pPr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arget </a:t>
            </a:r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cs typeface="Mangal" panose="02040503050203030202" pitchFamily="18" charset="0"/>
              </a:rPr>
              <a:t>plays</a:t>
            </a:r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</a:t>
            </a:r>
            <a:r>
              <a:rPr lang="en-IN" sz="16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ocene,</a:t>
            </a:r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IN" sz="1600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aleocene</a:t>
            </a:r>
            <a:r>
              <a:rPr lang="en-IN" sz="16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&amp;  Cretaceous</a:t>
            </a: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5DACEF30-3F59-40C8-AA6E-5149470798B3}"/>
              </a:ext>
            </a:extLst>
          </p:cNvPr>
          <p:cNvSpPr txBox="1"/>
          <p:nvPr/>
        </p:nvSpPr>
        <p:spPr>
          <a:xfrm>
            <a:off x="1081314" y="4081574"/>
            <a:ext cx="1596539" cy="2827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defTabSz="871057">
              <a:lnSpc>
                <a:spcPct val="115000"/>
              </a:lnSpc>
              <a:spcAft>
                <a:spcPts val="953"/>
              </a:spcAft>
            </a:pPr>
            <a:r>
              <a:rPr lang="en-IN" sz="1143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ocation Map</a:t>
            </a:r>
            <a:endParaRPr lang="en-IN" sz="1048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4CAF6A5-DFC2-4981-BA10-55A6C1B8B367}"/>
              </a:ext>
            </a:extLst>
          </p:cNvPr>
          <p:cNvSpPr txBox="1"/>
          <p:nvPr/>
        </p:nvSpPr>
        <p:spPr>
          <a:xfrm>
            <a:off x="1485124" y="2780596"/>
            <a:ext cx="1183778" cy="25058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defTabSz="871057">
              <a:lnSpc>
                <a:spcPct val="115000"/>
              </a:lnSpc>
              <a:spcAft>
                <a:spcPts val="953"/>
              </a:spcAft>
            </a:pPr>
            <a:r>
              <a:rPr lang="en-IN" sz="950" b="1" dirty="0">
                <a:solidFill>
                  <a:srgbClr val="66FF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Y-UDWHP-2022/3</a:t>
            </a:r>
            <a:endParaRPr lang="en-IN" sz="950" dirty="0">
              <a:solidFill>
                <a:srgbClr val="66FF33"/>
              </a:solidFill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06D94F2-0766-45A6-93E9-7F129C3D7B8B}"/>
              </a:ext>
            </a:extLst>
          </p:cNvPr>
          <p:cNvCxnSpPr>
            <a:cxnSpLocks/>
          </p:cNvCxnSpPr>
          <p:nvPr/>
        </p:nvCxnSpPr>
        <p:spPr>
          <a:xfrm>
            <a:off x="1281749" y="2905887"/>
            <a:ext cx="274320" cy="0"/>
          </a:xfrm>
          <a:prstGeom prst="straightConnector1">
            <a:avLst/>
          </a:prstGeom>
          <a:ln w="9525" cap="rnd">
            <a:solidFill>
              <a:srgbClr val="66FF3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28C4DE1F-BA40-4F27-A80D-2AB46329A0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92930" y="1240145"/>
            <a:ext cx="5422140" cy="2695226"/>
          </a:xfrm>
          <a:prstGeom prst="rect">
            <a:avLst/>
          </a:prstGeom>
          <a:solidFill>
            <a:srgbClr val="37373A"/>
          </a:solidFill>
          <a:ln>
            <a:solidFill>
              <a:schemeClr val="tx1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F59EDA6-720F-4294-BE5F-16AD3C76B379}"/>
              </a:ext>
            </a:extLst>
          </p:cNvPr>
          <p:cNvSpPr txBox="1"/>
          <p:nvPr/>
        </p:nvSpPr>
        <p:spPr>
          <a:xfrm>
            <a:off x="3800896" y="3882882"/>
            <a:ext cx="2069411" cy="2827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defTabSz="871057">
              <a:lnSpc>
                <a:spcPct val="115000"/>
              </a:lnSpc>
              <a:spcAft>
                <a:spcPts val="953"/>
              </a:spcAft>
            </a:pPr>
            <a:r>
              <a:rPr lang="en-US" sz="1143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ative Seismic Section</a:t>
            </a:r>
            <a:endParaRPr lang="en-IN" sz="1143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9986E16-52AE-4632-9C89-A419ECA73E46}"/>
              </a:ext>
            </a:extLst>
          </p:cNvPr>
          <p:cNvGrpSpPr/>
          <p:nvPr/>
        </p:nvGrpSpPr>
        <p:grpSpPr>
          <a:xfrm>
            <a:off x="5953080" y="4055957"/>
            <a:ext cx="2129904" cy="2728728"/>
            <a:chOff x="8840794" y="2826128"/>
            <a:chExt cx="1907339" cy="2705759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18995F3C-607A-4EFE-AC13-56F0FD40269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840794" y="2826128"/>
              <a:ext cx="1907339" cy="270575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E007015-C025-48F5-8D5B-B3619F80F838}"/>
                </a:ext>
              </a:extLst>
            </p:cNvPr>
            <p:cNvSpPr/>
            <p:nvPr/>
          </p:nvSpPr>
          <p:spPr>
            <a:xfrm>
              <a:off x="9295441" y="2926927"/>
              <a:ext cx="936481" cy="138218"/>
            </a:xfrm>
            <a:prstGeom prst="rect">
              <a:avLst/>
            </a:prstGeom>
            <a:solidFill>
              <a:srgbClr val="FFFF99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AE7478D-59FA-4D4F-9226-6AFBE9A17FF7}"/>
                </a:ext>
              </a:extLst>
            </p:cNvPr>
            <p:cNvSpPr txBox="1"/>
            <p:nvPr/>
          </p:nvSpPr>
          <p:spPr>
            <a:xfrm>
              <a:off x="9420226" y="2942175"/>
              <a:ext cx="811696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00" b="1" dirty="0">
                  <a:solidFill>
                    <a:schemeClr val="accent1">
                      <a:lumMod val="75000"/>
                      <a:lumOff val="25000"/>
                    </a:schemeClr>
                  </a:solidFill>
                </a:rPr>
                <a:t>CY-UDWHP-2022/3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1B4BF010-0135-4DE1-9E32-925F1E180C92}"/>
                </a:ext>
              </a:extLst>
            </p:cNvPr>
            <p:cNvSpPr txBox="1"/>
            <p:nvPr/>
          </p:nvSpPr>
          <p:spPr>
            <a:xfrm>
              <a:off x="9785043" y="5141432"/>
              <a:ext cx="811677" cy="267253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algn="just" defTabSz="871057">
                <a:lnSpc>
                  <a:spcPct val="115000"/>
                </a:lnSpc>
                <a:spcAft>
                  <a:spcPts val="953"/>
                </a:spcAft>
                <a:defRPr/>
              </a:pPr>
              <a:r>
                <a:rPr lang="en-IN" sz="1050" b="1" dirty="0">
                  <a:solidFill>
                    <a:srgbClr val="000000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Base  Map</a:t>
              </a:r>
              <a:endParaRPr lang="en-IN" sz="900" dirty="0">
                <a:solidFill>
                  <a:prstClr val="white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Mangal" panose="02040503050203030202" pitchFamily="18" charset="0"/>
              </a:endParaRPr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600F426-5D42-46D1-B5FE-0FEF45BCAA89}"/>
              </a:ext>
            </a:extLst>
          </p:cNvPr>
          <p:cNvCxnSpPr/>
          <p:nvPr/>
        </p:nvCxnSpPr>
        <p:spPr>
          <a:xfrm>
            <a:off x="31554" y="579604"/>
            <a:ext cx="12124944" cy="0"/>
          </a:xfrm>
          <a:prstGeom prst="line">
            <a:avLst/>
          </a:prstGeom>
          <a:ln w="101600" cap="rnd" cmpd="thinThick">
            <a:solidFill>
              <a:schemeClr val="tx2">
                <a:lumMod val="5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A5AD0FC1-9662-410F-86D4-D267C01C6044}"/>
              </a:ext>
            </a:extLst>
          </p:cNvPr>
          <p:cNvSpPr txBox="1"/>
          <p:nvPr/>
        </p:nvSpPr>
        <p:spPr>
          <a:xfrm>
            <a:off x="4602572" y="145886"/>
            <a:ext cx="2992027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>
            <a:spAutoFit/>
          </a:bodyPr>
          <a:lstStyle/>
          <a:p>
            <a:pPr algn="ctr" defTabSz="871057">
              <a:defRPr/>
            </a:pPr>
            <a:r>
              <a:rPr lang="en-US" sz="2400" b="1" dirty="0">
                <a:solidFill>
                  <a:srgbClr val="000066"/>
                </a:solidFill>
                <a:latin typeface="Trebuchet MS"/>
              </a:rPr>
              <a:t>Cauvery Basin</a:t>
            </a:r>
          </a:p>
        </p:txBody>
      </p:sp>
    </p:spTree>
    <p:extLst>
      <p:ext uri="{BB962C8B-B14F-4D97-AF65-F5344CB8AC3E}">
        <p14:creationId xmlns:p14="http://schemas.microsoft.com/office/powerpoint/2010/main" val="21191102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EFB967-B05F-44F5-A9D5-4058FBF90A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90518" y="164078"/>
          <a:ext cx="1513" cy="1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EFB967-B05F-44F5-A9D5-4058FBF90A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90518" y="164078"/>
                        <a:ext cx="1513" cy="15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B2B86B2D-6938-DFD2-3A39-BB23AE5C4B55}"/>
              </a:ext>
            </a:extLst>
          </p:cNvPr>
          <p:cNvSpPr/>
          <p:nvPr/>
        </p:nvSpPr>
        <p:spPr>
          <a:xfrm rot="5400000">
            <a:off x="862144" y="4136608"/>
            <a:ext cx="529284" cy="479380"/>
          </a:xfrm>
          <a:prstGeom prst="round2SameRect">
            <a:avLst>
              <a:gd name="adj1" fmla="val 9823"/>
              <a:gd name="adj2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endParaRPr lang="en-US" sz="1143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0E917E0D-75C9-8411-3EFC-7524F3D21BB8}"/>
              </a:ext>
            </a:extLst>
          </p:cNvPr>
          <p:cNvSpPr/>
          <p:nvPr/>
        </p:nvSpPr>
        <p:spPr>
          <a:xfrm rot="5400000">
            <a:off x="187686" y="5373619"/>
            <a:ext cx="1880015" cy="479380"/>
          </a:xfrm>
          <a:prstGeom prst="round2SameRect">
            <a:avLst>
              <a:gd name="adj1" fmla="val 16119"/>
              <a:gd name="adj2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endParaRPr lang="en-US" sz="1143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01" name="ee4pHeader2">
            <a:extLst>
              <a:ext uri="{FF2B5EF4-FFF2-40B4-BE49-F238E27FC236}">
                <a16:creationId xmlns:a16="http://schemas.microsoft.com/office/drawing/2014/main" id="{A27DF0C5-9834-4AD0-AF91-24652B08DF1F}"/>
              </a:ext>
            </a:extLst>
          </p:cNvPr>
          <p:cNvSpPr txBox="1"/>
          <p:nvPr/>
        </p:nvSpPr>
        <p:spPr>
          <a:xfrm>
            <a:off x="887853" y="3698059"/>
            <a:ext cx="4989073" cy="22986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 defTabSz="871057">
              <a:defRPr/>
            </a:pPr>
            <a:r>
              <a:rPr lang="en-US" sz="1524" b="1" dirty="0">
                <a:solidFill>
                  <a:srgbClr val="264796"/>
                </a:solidFill>
                <a:latin typeface="Trebuchet MS"/>
              </a:rPr>
              <a:t>Basin's risked resource potential – 2,377 MMTOE</a:t>
            </a:r>
          </a:p>
        </p:txBody>
      </p:sp>
      <p:graphicFrame>
        <p:nvGraphicFramePr>
          <p:cNvPr id="97" name="Chart 96">
            <a:extLst>
              <a:ext uri="{FF2B5EF4-FFF2-40B4-BE49-F238E27FC236}">
                <a16:creationId xmlns:a16="http://schemas.microsoft.com/office/drawing/2014/main" id="{8F769248-6B71-419C-A6B5-0357C74EE50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2877685"/>
              </p:ext>
            </p:extLst>
          </p:nvPr>
        </p:nvGraphicFramePr>
        <p:xfrm>
          <a:off x="3442024" y="4036800"/>
          <a:ext cx="2507291" cy="26615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42A13DEE-0339-AFB0-F069-FBA68273F9C5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gray">
          <a:xfrm flipV="1">
            <a:off x="3744470" y="4699160"/>
            <a:ext cx="0" cy="13611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8B1487C0-5F1F-8500-113F-E1C51BD72B14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H="1">
            <a:off x="3525194" y="4699161"/>
            <a:ext cx="219275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5A946C18-E6B6-DC07-915E-E2D61A1A64EB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gray">
          <a:xfrm>
            <a:off x="5751211" y="5119564"/>
            <a:ext cx="52929" cy="33269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FD9A740F-5B61-95E5-B9EE-337A283C2615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H="1">
            <a:off x="3522171" y="4750577"/>
            <a:ext cx="30245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D32C2E2C-698B-8077-32A5-F1058404732F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H="1">
            <a:off x="3803447" y="4966826"/>
            <a:ext cx="37806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3EABF1B8-18F8-4ADE-4ADB-CA25DD329126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gray">
          <a:xfrm flipH="1">
            <a:off x="3850327" y="5698750"/>
            <a:ext cx="96783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05825B9C-7A4F-14D3-EE3C-9C78406A1C00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 flipV="1">
            <a:off x="3804960" y="6486628"/>
            <a:ext cx="0" cy="34782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5E2D692-86C9-D539-B3EC-FCB951EEE3B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212572" y="5618603"/>
            <a:ext cx="1185595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FCFBA5D5-8025-46A5-A5F6-79AB52D48E33}" type="datetime'0''7'''' ''OL''I''G''''''''''OC''EN''E_E''AR''''LY''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7 OLIGOCENE_EARLY</a:t>
            </a:fld>
            <a:endParaRPr lang="en-US" sz="953">
              <a:latin typeface="Trebuchet MS"/>
            </a:endParaRPr>
          </a:p>
        </p:txBody>
      </p:sp>
      <p:sp>
        <p:nvSpPr>
          <p:cNvPr id="145" name="Text Placeholder 3">
            <a:extLst>
              <a:ext uri="{FF2B5EF4-FFF2-40B4-BE49-F238E27FC236}">
                <a16:creationId xmlns:a16="http://schemas.microsoft.com/office/drawing/2014/main" id="{3C9317E0-1763-4845-AD2B-1991FEC9D7F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846612" y="4399739"/>
            <a:ext cx="1551556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FBB37311-6C65-4FAC-AFF9-E47CA67FC55D}" type="datetime'0''''''''3'''' M''I''OCE''''N''''E_L''''AT''''E_''B''IOGENIC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3 MIOCENE_LATE_BIOGENIC</a:t>
            </a:fld>
            <a:endParaRPr lang="en-US" sz="953" dirty="0">
              <a:latin typeface="Trebuchet MS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BD745A28-B3B8-213C-DC99-054C7717EDD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026569" y="6268864"/>
            <a:ext cx="1371600" cy="320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40A6D028-64B1-4C87-AB8A-F2CB45A66CB1}" type="datetime'1''0 CR''ETACEOU''S_''LATE_&#10;BA''SE''''MENT''-BA''SALCLASTIC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10 CRETACEOUS_LATE_
BASEMENT-BASALCLASTIC</a:t>
            </a:fld>
            <a:endParaRPr lang="en-US" sz="953">
              <a:latin typeface="Trebuchet MS"/>
            </a:endParaRPr>
          </a:p>
        </p:txBody>
      </p:sp>
      <p:sp>
        <p:nvSpPr>
          <p:cNvPr id="142" name="Text Placeholder 3">
            <a:extLst>
              <a:ext uri="{FF2B5EF4-FFF2-40B4-BE49-F238E27FC236}">
                <a16:creationId xmlns:a16="http://schemas.microsoft.com/office/drawing/2014/main" id="{54F934EB-88D3-4C96-ABCB-88F506ECEDC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477626" y="4156268"/>
            <a:ext cx="1920542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0668DC89-BD8E-458D-9BFC-F9ADA5CE1E41}" type="datetime'''01 P''''''LEISTOCENE-RE''CE''''N''T''''_B''''IOGE''NI''C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1 PLEISTOCENE-RECENT_BIOGENIC</a:t>
            </a:fld>
            <a:endParaRPr lang="en-US" sz="953" dirty="0">
              <a:latin typeface="Trebuchet MS"/>
            </a:endParaRPr>
          </a:p>
        </p:txBody>
      </p:sp>
      <p:sp>
        <p:nvSpPr>
          <p:cNvPr id="148" name="Text Placeholder 3">
            <a:extLst>
              <a:ext uri="{FF2B5EF4-FFF2-40B4-BE49-F238E27FC236}">
                <a16:creationId xmlns:a16="http://schemas.microsoft.com/office/drawing/2014/main" id="{5E1311CF-AE73-42AF-A2BD-214B77EEB68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138473" y="4643209"/>
            <a:ext cx="1259695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4ADF1F1D-4831-42B1-820E-3A0F77B69BAA}" type="datetime'''''''0''''2'''' P''''LIO''''C''ECE''''_''''B''''I''OGE''NIC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2 PLIOCECE_BIOGENIC</a:t>
            </a:fld>
            <a:endParaRPr lang="en-US" sz="953">
              <a:latin typeface="Trebuchet MS"/>
            </a:endParaRPr>
          </a:p>
        </p:txBody>
      </p:sp>
      <p:sp>
        <p:nvSpPr>
          <p:cNvPr id="74" name="Text Placeholder 3">
            <a:extLst>
              <a:ext uri="{FF2B5EF4-FFF2-40B4-BE49-F238E27FC236}">
                <a16:creationId xmlns:a16="http://schemas.microsoft.com/office/drawing/2014/main" id="{00198AFF-1330-6D76-750C-85F470AC290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552417" y="4712772"/>
            <a:ext cx="111906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64796"/>
                </a:solidFill>
              </a14:hiddenFill>
            </a:ext>
          </a:extLst>
        </p:spPr>
        <p:txBody>
          <a:bodyPr vert="horz" wrap="none" lIns="24196" tIns="0" rIns="24196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871057">
              <a:spcBef>
                <a:spcPct val="0"/>
              </a:spcBef>
              <a:spcAft>
                <a:spcPct val="0"/>
              </a:spcAft>
              <a:defRPr/>
            </a:pPr>
            <a:fld id="{5DEBBED5-DE26-4A51-9A7D-CE8F144D7EDB}" type="datetime'''''''''''''''1'''">
              <a:rPr lang="en-US" altLang="en-US" sz="953">
                <a:latin typeface="Trebuchet MS"/>
              </a:rPr>
              <a:pPr defTabSz="871057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 sz="953">
              <a:latin typeface="Trebuchet MS"/>
            </a:endParaRPr>
          </a:p>
        </p:txBody>
      </p:sp>
      <p:sp>
        <p:nvSpPr>
          <p:cNvPr id="143" name="Text Placeholder 3">
            <a:extLst>
              <a:ext uri="{FF2B5EF4-FFF2-40B4-BE49-F238E27FC236}">
                <a16:creationId xmlns:a16="http://schemas.microsoft.com/office/drawing/2014/main" id="{2E77A835-C071-49D3-9307-B1FFD50615F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295746" y="4886680"/>
            <a:ext cx="1102422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B00C82AA-9787-4C01-9731-0DD47A7E778A}" type="datetime'''''04 ''M''''''''''I''''OCE''''''N''E''_M''IDD''L''''''''E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4 MIOCENE_MIDDLE</a:t>
            </a:fld>
            <a:endParaRPr lang="en-US" sz="953">
              <a:latin typeface="Trebuchet MS"/>
            </a:endParaRP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EF2CC8F2-D44C-4E3C-931B-6FD3266A6B9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351698" y="5131662"/>
            <a:ext cx="1046469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2A2088E9-C5F9-4F0E-AE34-A9818A3EC1DB}" type="datetime'''''''''0''5'' ''''''MI''''O''''''C''ENE_E''A''''''''R''LY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5 MIOCENE_EARLY</a:t>
            </a:fld>
            <a:endParaRPr lang="en-US" sz="953">
              <a:latin typeface="Trebuchet MS"/>
            </a:endParaRPr>
          </a:p>
        </p:txBody>
      </p:sp>
      <p:sp>
        <p:nvSpPr>
          <p:cNvPr id="140" name="Text Placeholder 3">
            <a:extLst>
              <a:ext uri="{FF2B5EF4-FFF2-40B4-BE49-F238E27FC236}">
                <a16:creationId xmlns:a16="http://schemas.microsoft.com/office/drawing/2014/main" id="{1B34EBA7-535F-45CA-9015-E7C780F2C2E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283648" y="5375132"/>
            <a:ext cx="1114520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C5F8B6CC-F8E7-4CF3-935D-82CB6457592D}" type="datetime'''06'' O''''L''''IG''O''''C''ENE_''''''''''''L''''A''''''T''E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6 OLIGOCENE_LATE</a:t>
            </a:fld>
            <a:endParaRPr lang="en-US" sz="953">
              <a:latin typeface="Trebuchet MS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3B3F7965-4275-9438-99D6-7196C4B1D1B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019006" y="5862073"/>
            <a:ext cx="1379161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4696AE3F-6FCD-48D4-AE57-AB35030C7B2B}" type="datetime'0''''''8 E''''''OC''E''N''E_MID''''''D''LE_''LAT''''''E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8 EOCENE_MIDDLE_LATE</a:t>
            </a:fld>
            <a:endParaRPr lang="en-US" sz="953" dirty="0">
              <a:latin typeface="Trebuchet MS"/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86E568DD-8B73-186D-10B0-3B20BCEF6A0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734705" y="6105544"/>
            <a:ext cx="1663462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AAB31911-67E2-4476-A6AC-01C935D3E55D}" type="datetime'0''9 ''P''''''''AL''''E''OCE''''''NE-EOC''E''N''E_EAR''L''Y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9 PALEOCENE-EOCENE_EARLY</a:t>
            </a:fld>
            <a:endParaRPr lang="en-US" sz="953">
              <a:latin typeface="Trebuchet MS"/>
            </a:endParaRP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C503C610-1A7A-429B-9FD5-32B5ED586D1E}"/>
              </a:ext>
            </a:extLst>
          </p:cNvPr>
          <p:cNvSpPr txBox="1"/>
          <p:nvPr/>
        </p:nvSpPr>
        <p:spPr>
          <a:xfrm>
            <a:off x="906753" y="4289343"/>
            <a:ext cx="426035" cy="175420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r>
              <a:rPr lang="en-US" sz="1143" dirty="0">
                <a:solidFill>
                  <a:prstClr val="white"/>
                </a:solidFill>
                <a:latin typeface="Trebuchet MS"/>
                <a:sym typeface="Trebuchet MS" panose="020B0603020202020204" pitchFamily="34" charset="0"/>
              </a:rPr>
              <a:t>Known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31950EF7-DE4C-46CF-8DC9-612334187D3A}"/>
              </a:ext>
            </a:extLst>
          </p:cNvPr>
          <p:cNvSpPr txBox="1"/>
          <p:nvPr/>
        </p:nvSpPr>
        <p:spPr>
          <a:xfrm>
            <a:off x="898751" y="5524843"/>
            <a:ext cx="442038" cy="17693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r>
              <a:rPr lang="en-US" sz="1143" dirty="0">
                <a:solidFill>
                  <a:prstClr val="white"/>
                </a:solidFill>
                <a:latin typeface="Trebuchet MS"/>
                <a:sym typeface="Trebuchet MS" panose="020B0603020202020204" pitchFamily="34" charset="0"/>
              </a:rPr>
              <a:t>Proven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00BDF8E-4E2E-B0F9-71CB-04B87C2BF4A2}"/>
              </a:ext>
            </a:extLst>
          </p:cNvPr>
          <p:cNvCxnSpPr>
            <a:cxnSpLocks/>
          </p:cNvCxnSpPr>
          <p:nvPr/>
        </p:nvCxnSpPr>
        <p:spPr>
          <a:xfrm flipH="1">
            <a:off x="887853" y="3983872"/>
            <a:ext cx="4989073" cy="0"/>
          </a:xfrm>
          <a:prstGeom prst="line">
            <a:avLst/>
          </a:prstGeom>
          <a:ln w="9525" cap="rnd">
            <a:solidFill>
              <a:schemeClr val="accent5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1" name="Group 80">
            <a:extLst>
              <a:ext uri="{FF2B5EF4-FFF2-40B4-BE49-F238E27FC236}">
                <a16:creationId xmlns:a16="http://schemas.microsoft.com/office/drawing/2014/main" id="{FE6B0F90-8BAA-E240-C491-1E76700CD865}"/>
              </a:ext>
            </a:extLst>
          </p:cNvPr>
          <p:cNvGrpSpPr/>
          <p:nvPr/>
        </p:nvGrpSpPr>
        <p:grpSpPr>
          <a:xfrm rot="5400000">
            <a:off x="7644543" y="2596394"/>
            <a:ext cx="2496686" cy="5557476"/>
            <a:chOff x="424729" y="1165597"/>
            <a:chExt cx="2223089" cy="5596622"/>
          </a:xfrm>
        </p:grpSpPr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A2261DBF-1EE5-F914-77F2-78A33FE096CB}"/>
                </a:ext>
              </a:extLst>
            </p:cNvPr>
            <p:cNvCxnSpPr>
              <a:cxnSpLocks/>
            </p:cNvCxnSpPr>
            <p:nvPr/>
          </p:nvCxnSpPr>
          <p:spPr>
            <a:xfrm>
              <a:off x="628197" y="1165597"/>
              <a:ext cx="453" cy="5596622"/>
            </a:xfrm>
            <a:prstGeom prst="line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71B71E65-5B1A-A31D-E947-7A4A4CC22826}"/>
                </a:ext>
              </a:extLst>
            </p:cNvPr>
            <p:cNvGrpSpPr/>
            <p:nvPr/>
          </p:nvGrpSpPr>
          <p:grpSpPr>
            <a:xfrm>
              <a:off x="424729" y="1446085"/>
              <a:ext cx="2223089" cy="5035647"/>
              <a:chOff x="424731" y="1593204"/>
              <a:chExt cx="2150517" cy="4644729"/>
            </a:xfrm>
          </p:grpSpPr>
          <p:sp>
            <p:nvSpPr>
              <p:cNvPr id="86" name="Rectangle: Top Corners Rounded 85">
                <a:extLst>
                  <a:ext uri="{FF2B5EF4-FFF2-40B4-BE49-F238E27FC236}">
                    <a16:creationId xmlns:a16="http://schemas.microsoft.com/office/drawing/2014/main" id="{5C46CC13-EB42-E358-7E08-BAA1E87629EC}"/>
                  </a:ext>
                </a:extLst>
              </p:cNvPr>
              <p:cNvSpPr/>
              <p:nvPr/>
            </p:nvSpPr>
            <p:spPr>
              <a:xfrm rot="5400000">
                <a:off x="-727327" y="2935357"/>
                <a:ext cx="4549092" cy="2056059"/>
              </a:xfrm>
              <a:prstGeom prst="round2SameRect">
                <a:avLst>
                  <a:gd name="adj1" fmla="val 11574"/>
                  <a:gd name="adj2" fmla="val 0"/>
                </a:avLst>
              </a:prstGeom>
              <a:solidFill>
                <a:schemeClr val="accent1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0883">
                  <a:defRPr/>
                </a:pPr>
                <a:endParaRPr lang="en-US" sz="1524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87" name="Rectangle: Top Corners Rounded 86">
                <a:extLst>
                  <a:ext uri="{FF2B5EF4-FFF2-40B4-BE49-F238E27FC236}">
                    <a16:creationId xmlns:a16="http://schemas.microsoft.com/office/drawing/2014/main" id="{8904E41A-BD4D-4388-7499-80B067822613}"/>
                  </a:ext>
                </a:extLst>
              </p:cNvPr>
              <p:cNvSpPr/>
              <p:nvPr/>
            </p:nvSpPr>
            <p:spPr>
              <a:xfrm rot="5400000">
                <a:off x="-853362" y="2871297"/>
                <a:ext cx="4632058" cy="2075872"/>
              </a:xfrm>
              <a:prstGeom prst="round2SameRect">
                <a:avLst>
                  <a:gd name="adj1" fmla="val 11574"/>
                  <a:gd name="adj2" fmla="val 0"/>
                </a:avLst>
              </a:prstGeom>
              <a:solidFill>
                <a:schemeClr val="tx2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0883">
                  <a:defRPr/>
                </a:pPr>
                <a:endParaRPr lang="en-US" sz="1524">
                  <a:solidFill>
                    <a:srgbClr val="FFFFFF"/>
                  </a:solidFill>
                  <a:latin typeface="Trebuchet MS"/>
                </a:endParaRPr>
              </a:p>
            </p:txBody>
          </p:sp>
        </p:grpSp>
        <p:sp>
          <p:nvSpPr>
            <p:cNvPr id="84" name="Right Triangle 83">
              <a:extLst>
                <a:ext uri="{FF2B5EF4-FFF2-40B4-BE49-F238E27FC236}">
                  <a16:creationId xmlns:a16="http://schemas.microsoft.com/office/drawing/2014/main" id="{56B52043-CB83-78DC-6540-AD5A8F855F38}"/>
                </a:ext>
              </a:extLst>
            </p:cNvPr>
            <p:cNvSpPr/>
            <p:nvPr/>
          </p:nvSpPr>
          <p:spPr>
            <a:xfrm flipH="1">
              <a:off x="424729" y="1223131"/>
              <a:ext cx="203468" cy="222955"/>
            </a:xfrm>
            <a:prstGeom prst="rtTriangle">
              <a:avLst/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0883">
                <a:defRPr/>
              </a:pPr>
              <a:endParaRPr lang="en-US" sz="1524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85" name="Right Triangle 84">
              <a:extLst>
                <a:ext uri="{FF2B5EF4-FFF2-40B4-BE49-F238E27FC236}">
                  <a16:creationId xmlns:a16="http://schemas.microsoft.com/office/drawing/2014/main" id="{FE2059A0-AA8E-D19E-BA15-8E9847A228BF}"/>
                </a:ext>
              </a:extLst>
            </p:cNvPr>
            <p:cNvSpPr/>
            <p:nvPr/>
          </p:nvSpPr>
          <p:spPr>
            <a:xfrm flipH="1" flipV="1">
              <a:off x="424729" y="6466492"/>
              <a:ext cx="203468" cy="222955"/>
            </a:xfrm>
            <a:prstGeom prst="rtTriangle">
              <a:avLst/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0883">
                <a:defRPr/>
              </a:pPr>
              <a:endParaRPr lang="en-US" sz="1524">
                <a:solidFill>
                  <a:srgbClr val="FFFFFF"/>
                </a:solidFill>
                <a:latin typeface="Trebuchet MS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3DC412DB-DBD0-4486-9322-A39EF16B3D12}"/>
              </a:ext>
            </a:extLst>
          </p:cNvPr>
          <p:cNvSpPr txBox="1"/>
          <p:nvPr/>
        </p:nvSpPr>
        <p:spPr>
          <a:xfrm>
            <a:off x="6557153" y="4714731"/>
            <a:ext cx="4654801" cy="160249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241294" indent="-241294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  <a:defRPr sz="1400"/>
            </a:lvl1pPr>
          </a:lstStyle>
          <a:p>
            <a:pPr marL="375086" lvl="1" indent="-272205" defTabSz="871057">
              <a:spcAft>
                <a:spcPts val="1143"/>
              </a:spcAft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430" dirty="0">
                <a:solidFill>
                  <a:prstClr val="white"/>
                </a:solidFill>
                <a:latin typeface="Trebuchet MS"/>
              </a:rPr>
              <a:t>The basin has discovered resources of 4.8 BTOE, </a:t>
            </a:r>
            <a:r>
              <a:rPr lang="en-US" sz="1430" dirty="0">
                <a:solidFill>
                  <a:srgbClr val="FFD700"/>
                </a:solidFill>
                <a:latin typeface="Trebuchet MS"/>
              </a:rPr>
              <a:t>producing half </a:t>
            </a:r>
            <a:r>
              <a:rPr lang="en-US" sz="1430" dirty="0">
                <a:solidFill>
                  <a:prstClr val="white"/>
                </a:solidFill>
                <a:latin typeface="Trebuchet MS"/>
              </a:rPr>
              <a:t>of country’s oil and gas</a:t>
            </a:r>
          </a:p>
          <a:p>
            <a:pPr marL="375086" lvl="1" indent="-272205" defTabSz="871057">
              <a:spcAft>
                <a:spcPts val="1143"/>
              </a:spcAft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430" dirty="0">
                <a:solidFill>
                  <a:prstClr val="white"/>
                </a:solidFill>
                <a:latin typeface="Trebuchet MS"/>
              </a:rPr>
              <a:t>Opportunity to chase prospective plays (</a:t>
            </a:r>
            <a:r>
              <a:rPr lang="en-US" sz="1430" dirty="0">
                <a:solidFill>
                  <a:srgbClr val="FFD700"/>
                </a:solidFill>
                <a:latin typeface="Trebuchet MS"/>
              </a:rPr>
              <a:t>Paleocene and Eocene) </a:t>
            </a:r>
            <a:r>
              <a:rPr lang="en-US" sz="1430" dirty="0">
                <a:solidFill>
                  <a:prstClr val="white"/>
                </a:solidFill>
                <a:latin typeface="Trebuchet MS"/>
              </a:rPr>
              <a:t>towards </a:t>
            </a:r>
            <a:r>
              <a:rPr lang="en-US" sz="1430" dirty="0">
                <a:solidFill>
                  <a:srgbClr val="FFD700"/>
                </a:solidFill>
                <a:latin typeface="Trebuchet MS"/>
              </a:rPr>
              <a:t>deepwater </a:t>
            </a:r>
          </a:p>
          <a:p>
            <a:pPr marL="375086" lvl="1" indent="-272205" defTabSz="871057">
              <a:spcAft>
                <a:spcPts val="1143"/>
              </a:spcAft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430" dirty="0">
                <a:solidFill>
                  <a:prstClr val="white"/>
                </a:solidFill>
                <a:latin typeface="Trebuchet MS"/>
              </a:rPr>
              <a:t>Opportunity to explore </a:t>
            </a:r>
            <a:r>
              <a:rPr lang="en-US" sz="1430" dirty="0">
                <a:solidFill>
                  <a:srgbClr val="FFD700"/>
                </a:solidFill>
                <a:latin typeface="Trebuchet MS"/>
              </a:rPr>
              <a:t>Sub-basalt</a:t>
            </a:r>
            <a:r>
              <a:rPr lang="en-US" sz="1430" dirty="0">
                <a:solidFill>
                  <a:prstClr val="white"/>
                </a:solidFill>
                <a:latin typeface="Trebuchet MS"/>
              </a:rPr>
              <a:t> </a:t>
            </a:r>
            <a:r>
              <a:rPr lang="en-US" sz="1430" dirty="0">
                <a:solidFill>
                  <a:srgbClr val="FFD700"/>
                </a:solidFill>
                <a:latin typeface="Trebuchet MS"/>
              </a:rPr>
              <a:t>Mesozoic Play</a:t>
            </a:r>
            <a:r>
              <a:rPr lang="en-US" sz="1430" dirty="0">
                <a:solidFill>
                  <a:prstClr val="white"/>
                </a:solidFill>
                <a:latin typeface="Trebuchet MS"/>
              </a:rPr>
              <a:t> at a deeper depth (3,000m+)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81C9846-14E6-481B-BADB-366D81ACD598}"/>
              </a:ext>
            </a:extLst>
          </p:cNvPr>
          <p:cNvGrpSpPr/>
          <p:nvPr/>
        </p:nvGrpSpPr>
        <p:grpSpPr>
          <a:xfrm>
            <a:off x="1653060" y="938528"/>
            <a:ext cx="8959254" cy="2829323"/>
            <a:chOff x="2897618" y="1407655"/>
            <a:chExt cx="7857299" cy="2692871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13F51C7C-8AEB-95BF-A8B1-4D4DE68AB0A4}"/>
                </a:ext>
              </a:extLst>
            </p:cNvPr>
            <p:cNvGrpSpPr/>
            <p:nvPr/>
          </p:nvGrpSpPr>
          <p:grpSpPr>
            <a:xfrm>
              <a:off x="4948729" y="3110115"/>
              <a:ext cx="796434" cy="595822"/>
              <a:chOff x="4891630" y="2839739"/>
              <a:chExt cx="836071" cy="626278"/>
            </a:xfrm>
          </p:grpSpPr>
          <p:sp>
            <p:nvSpPr>
              <p:cNvPr id="3" name="Right Triangle 2">
                <a:extLst>
                  <a:ext uri="{FF2B5EF4-FFF2-40B4-BE49-F238E27FC236}">
                    <a16:creationId xmlns:a16="http://schemas.microsoft.com/office/drawing/2014/main" id="{340B1AC7-E037-7538-296D-1D776B3C5880}"/>
                  </a:ext>
                </a:extLst>
              </p:cNvPr>
              <p:cNvSpPr/>
              <p:nvPr/>
            </p:nvSpPr>
            <p:spPr>
              <a:xfrm rot="16200000">
                <a:off x="4868177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6" name="Right Triangle 5">
                <a:extLst>
                  <a:ext uri="{FF2B5EF4-FFF2-40B4-BE49-F238E27FC236}">
                    <a16:creationId xmlns:a16="http://schemas.microsoft.com/office/drawing/2014/main" id="{27B3C49A-64B3-D789-87B8-DFF9C626F47A}"/>
                  </a:ext>
                </a:extLst>
              </p:cNvPr>
              <p:cNvSpPr/>
              <p:nvPr/>
            </p:nvSpPr>
            <p:spPr>
              <a:xfrm rot="5400000" flipH="1">
                <a:off x="5607953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0" name="Rectangle: Top Corners Rounded 9">
                <a:extLst>
                  <a:ext uri="{FF2B5EF4-FFF2-40B4-BE49-F238E27FC236}">
                    <a16:creationId xmlns:a16="http://schemas.microsoft.com/office/drawing/2014/main" id="{B8C7EA97-1070-0B3F-C7C0-49435676914F}"/>
                  </a:ext>
                </a:extLst>
              </p:cNvPr>
              <p:cNvSpPr/>
              <p:nvPr/>
            </p:nvSpPr>
            <p:spPr>
              <a:xfrm flipV="1">
                <a:off x="4891630" y="3007842"/>
                <a:ext cx="836070" cy="458175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2" name="Rectangle: Top Corners Rounded 1">
                <a:extLst>
                  <a:ext uri="{FF2B5EF4-FFF2-40B4-BE49-F238E27FC236}">
                    <a16:creationId xmlns:a16="http://schemas.microsoft.com/office/drawing/2014/main" id="{A3D0A3F6-298B-CC32-D694-D70B003E176B}"/>
                  </a:ext>
                </a:extLst>
              </p:cNvPr>
              <p:cNvSpPr/>
              <p:nvPr/>
            </p:nvSpPr>
            <p:spPr>
              <a:xfrm flipV="1">
                <a:off x="4891630" y="2972282"/>
                <a:ext cx="836070" cy="458175"/>
              </a:xfrm>
              <a:prstGeom prst="round2SameRect">
                <a:avLst/>
              </a:prstGeom>
              <a:solidFill>
                <a:schemeClr val="bg1"/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9261EF4B-3978-8B45-9EC0-E90B45995760}"/>
                  </a:ext>
                </a:extLst>
              </p:cNvPr>
              <p:cNvSpPr txBox="1"/>
              <p:nvPr/>
            </p:nvSpPr>
            <p:spPr>
              <a:xfrm>
                <a:off x="4897970" y="3011043"/>
                <a:ext cx="823390" cy="33901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871057">
                  <a:defRPr/>
                </a:pPr>
                <a:r>
                  <a:rPr lang="en-IN" sz="1048" b="1">
                    <a:solidFill>
                      <a:srgbClr val="00B050"/>
                    </a:solidFill>
                    <a:latin typeface="Calibri" panose="020F0502020204030204" pitchFamily="34" charset="0"/>
                  </a:rPr>
                  <a:t>Discovered</a:t>
                </a:r>
                <a:r>
                  <a:rPr lang="en-IN" sz="1048" b="1">
                    <a:solidFill>
                      <a:srgbClr val="000000"/>
                    </a:solidFill>
                    <a:latin typeface="Calibri" panose="020F0502020204030204" pitchFamily="34" charset="0"/>
                  </a:rPr>
                  <a:t>|</a:t>
                </a:r>
              </a:p>
              <a:p>
                <a:pPr algn="ctr" defTabSz="871057">
                  <a:defRPr/>
                </a:pPr>
                <a:r>
                  <a:rPr lang="en-IN" sz="1048" b="1">
                    <a:solidFill>
                      <a:srgbClr val="5A5A5A"/>
                    </a:solidFill>
                    <a:latin typeface="Calibri" panose="020F0502020204030204" pitchFamily="34" charset="0"/>
                  </a:rPr>
                  <a:t>Undiscovered</a:t>
                </a:r>
                <a:endParaRPr lang="en-IN" sz="1048" b="1">
                  <a:solidFill>
                    <a:srgbClr val="5A5A5A"/>
                  </a:solidFill>
                  <a:latin typeface="Trebuchet MS"/>
                </a:endParaRPr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FF55360A-5092-9F7F-E4B1-AF64C4DA3287}"/>
                </a:ext>
              </a:extLst>
            </p:cNvPr>
            <p:cNvGrpSpPr/>
            <p:nvPr/>
          </p:nvGrpSpPr>
          <p:grpSpPr>
            <a:xfrm>
              <a:off x="3995793" y="3110106"/>
              <a:ext cx="796434" cy="595820"/>
              <a:chOff x="3859483" y="2839739"/>
              <a:chExt cx="836071" cy="626278"/>
            </a:xfrm>
          </p:grpSpPr>
          <p:sp>
            <p:nvSpPr>
              <p:cNvPr id="17" name="Right Triangle 16">
                <a:extLst>
                  <a:ext uri="{FF2B5EF4-FFF2-40B4-BE49-F238E27FC236}">
                    <a16:creationId xmlns:a16="http://schemas.microsoft.com/office/drawing/2014/main" id="{141F1655-EFE3-8929-096E-1B794EC14051}"/>
                  </a:ext>
                </a:extLst>
              </p:cNvPr>
              <p:cNvSpPr/>
              <p:nvPr/>
            </p:nvSpPr>
            <p:spPr>
              <a:xfrm rot="16200000">
                <a:off x="3836030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8" name="Right Triangle 17">
                <a:extLst>
                  <a:ext uri="{FF2B5EF4-FFF2-40B4-BE49-F238E27FC236}">
                    <a16:creationId xmlns:a16="http://schemas.microsoft.com/office/drawing/2014/main" id="{1718897C-E8EC-D65C-2A39-EE1A336F8260}"/>
                  </a:ext>
                </a:extLst>
              </p:cNvPr>
              <p:cNvSpPr/>
              <p:nvPr/>
            </p:nvSpPr>
            <p:spPr>
              <a:xfrm rot="5400000" flipH="1">
                <a:off x="4575806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9" name="Rectangle: Top Corners Rounded 18">
                <a:extLst>
                  <a:ext uri="{FF2B5EF4-FFF2-40B4-BE49-F238E27FC236}">
                    <a16:creationId xmlns:a16="http://schemas.microsoft.com/office/drawing/2014/main" id="{E0BA73EA-0025-AB44-DBBD-ACF1955E5AE7}"/>
                  </a:ext>
                </a:extLst>
              </p:cNvPr>
              <p:cNvSpPr/>
              <p:nvPr/>
            </p:nvSpPr>
            <p:spPr>
              <a:xfrm flipV="1">
                <a:off x="3859483" y="3007842"/>
                <a:ext cx="836070" cy="458175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21" name="Rectangle: Top Corners Rounded 20">
                <a:extLst>
                  <a:ext uri="{FF2B5EF4-FFF2-40B4-BE49-F238E27FC236}">
                    <a16:creationId xmlns:a16="http://schemas.microsoft.com/office/drawing/2014/main" id="{BC39B5D8-C55C-01CA-98E4-C7D1B7544A6B}"/>
                  </a:ext>
                </a:extLst>
              </p:cNvPr>
              <p:cNvSpPr/>
              <p:nvPr/>
            </p:nvSpPr>
            <p:spPr>
              <a:xfrm flipV="1">
                <a:off x="3859483" y="2972282"/>
                <a:ext cx="836070" cy="458175"/>
              </a:xfrm>
              <a:prstGeom prst="round2SameRect">
                <a:avLst/>
              </a:prstGeom>
              <a:solidFill>
                <a:schemeClr val="bg1"/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10ADED9B-7E64-F8EA-1992-4171E76055D1}"/>
                  </a:ext>
                </a:extLst>
              </p:cNvPr>
              <p:cNvSpPr txBox="1"/>
              <p:nvPr/>
            </p:nvSpPr>
            <p:spPr>
              <a:xfrm>
                <a:off x="3865823" y="3011042"/>
                <a:ext cx="823390" cy="3390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871057">
                  <a:defRPr/>
                </a:pPr>
                <a:r>
                  <a:rPr lang="en-US" sz="1048" b="1">
                    <a:solidFill>
                      <a:srgbClr val="FFD700"/>
                    </a:solidFill>
                    <a:latin typeface="Calibri" panose="020F0502020204030204" pitchFamily="34" charset="0"/>
                  </a:rPr>
                  <a:t>Deep </a:t>
                </a:r>
                <a:r>
                  <a:rPr lang="en-IN" sz="1048" b="1">
                    <a:solidFill>
                      <a:srgbClr val="FF9933"/>
                    </a:solidFill>
                    <a:latin typeface="Calibri" panose="020F0502020204030204" pitchFamily="34" charset="0"/>
                  </a:rPr>
                  <a:t> </a:t>
                </a:r>
                <a:r>
                  <a:rPr lang="en-IN" sz="1048" b="1">
                    <a:solidFill>
                      <a:srgbClr val="000000"/>
                    </a:solidFill>
                    <a:latin typeface="Calibri" panose="020F0502020204030204" pitchFamily="34" charset="0"/>
                  </a:rPr>
                  <a:t>| </a:t>
                </a:r>
                <a:r>
                  <a:rPr lang="en-IN" sz="1048" b="1">
                    <a:solidFill>
                      <a:srgbClr val="B6C2FE"/>
                    </a:solidFill>
                    <a:latin typeface="Calibri" panose="020F0502020204030204" pitchFamily="34" charset="0"/>
                  </a:rPr>
                  <a:t>Shallow</a:t>
                </a:r>
                <a:endParaRPr lang="en-IN" sz="1048" b="1">
                  <a:solidFill>
                    <a:srgbClr val="B6C2FE"/>
                  </a:solidFill>
                  <a:latin typeface="Trebuchet MS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A6F2B24E-8581-01D0-1587-BD79D21094D1}"/>
                </a:ext>
              </a:extLst>
            </p:cNvPr>
            <p:cNvGrpSpPr/>
            <p:nvPr/>
          </p:nvGrpSpPr>
          <p:grpSpPr>
            <a:xfrm>
              <a:off x="3055605" y="3108594"/>
              <a:ext cx="796434" cy="595820"/>
              <a:chOff x="2820464" y="2839739"/>
              <a:chExt cx="836071" cy="626278"/>
            </a:xfrm>
          </p:grpSpPr>
          <p:sp>
            <p:nvSpPr>
              <p:cNvPr id="25" name="Right Triangle 24">
                <a:extLst>
                  <a:ext uri="{FF2B5EF4-FFF2-40B4-BE49-F238E27FC236}">
                    <a16:creationId xmlns:a16="http://schemas.microsoft.com/office/drawing/2014/main" id="{1BE8A52C-A535-8668-7366-9E21B6BD6E86}"/>
                  </a:ext>
                </a:extLst>
              </p:cNvPr>
              <p:cNvSpPr/>
              <p:nvPr/>
            </p:nvSpPr>
            <p:spPr>
              <a:xfrm rot="16200000">
                <a:off x="2797011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26" name="Right Triangle 25">
                <a:extLst>
                  <a:ext uri="{FF2B5EF4-FFF2-40B4-BE49-F238E27FC236}">
                    <a16:creationId xmlns:a16="http://schemas.microsoft.com/office/drawing/2014/main" id="{4ACA95AE-BE5C-848C-9E88-BCAD9D186272}"/>
                  </a:ext>
                </a:extLst>
              </p:cNvPr>
              <p:cNvSpPr/>
              <p:nvPr/>
            </p:nvSpPr>
            <p:spPr>
              <a:xfrm rot="5400000" flipH="1">
                <a:off x="3536787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27" name="Rectangle: Top Corners Rounded 26">
                <a:extLst>
                  <a:ext uri="{FF2B5EF4-FFF2-40B4-BE49-F238E27FC236}">
                    <a16:creationId xmlns:a16="http://schemas.microsoft.com/office/drawing/2014/main" id="{95D3E210-499E-4AA6-5911-5A93F71B935D}"/>
                  </a:ext>
                </a:extLst>
              </p:cNvPr>
              <p:cNvSpPr/>
              <p:nvPr/>
            </p:nvSpPr>
            <p:spPr>
              <a:xfrm flipV="1">
                <a:off x="2820464" y="3007842"/>
                <a:ext cx="836070" cy="458175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28" name="Rectangle: Top Corners Rounded 27">
                <a:extLst>
                  <a:ext uri="{FF2B5EF4-FFF2-40B4-BE49-F238E27FC236}">
                    <a16:creationId xmlns:a16="http://schemas.microsoft.com/office/drawing/2014/main" id="{B0405A40-AA7B-E608-86FA-C5386F9BA8B1}"/>
                  </a:ext>
                </a:extLst>
              </p:cNvPr>
              <p:cNvSpPr/>
              <p:nvPr/>
            </p:nvSpPr>
            <p:spPr>
              <a:xfrm flipV="1">
                <a:off x="2820464" y="2972282"/>
                <a:ext cx="836070" cy="458175"/>
              </a:xfrm>
              <a:prstGeom prst="round2SameRect">
                <a:avLst/>
              </a:prstGeom>
              <a:solidFill>
                <a:schemeClr val="bg1"/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9520A1D9-B955-67EA-77FB-5C7E245989BA}"/>
                  </a:ext>
                </a:extLst>
              </p:cNvPr>
              <p:cNvSpPr txBox="1"/>
              <p:nvPr/>
            </p:nvSpPr>
            <p:spPr>
              <a:xfrm>
                <a:off x="2826804" y="3011042"/>
                <a:ext cx="823390" cy="3390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871057">
                  <a:defRPr/>
                </a:pPr>
                <a:r>
                  <a:rPr lang="en-US" sz="1048" b="1" err="1">
                    <a:solidFill>
                      <a:srgbClr val="FF9933"/>
                    </a:solidFill>
                    <a:latin typeface="Calibri" panose="020F0502020204030204" pitchFamily="34" charset="0"/>
                  </a:rPr>
                  <a:t>Onland</a:t>
                </a:r>
                <a:r>
                  <a:rPr lang="en-IN" sz="1048" b="1">
                    <a:solidFill>
                      <a:srgbClr val="FF9933"/>
                    </a:solidFill>
                    <a:latin typeface="Calibri" panose="020F0502020204030204" pitchFamily="34" charset="0"/>
                  </a:rPr>
                  <a:t> </a:t>
                </a:r>
                <a:r>
                  <a:rPr lang="en-IN" sz="1048" b="1">
                    <a:solidFill>
                      <a:srgbClr val="000000"/>
                    </a:solidFill>
                    <a:latin typeface="Calibri" panose="020F0502020204030204" pitchFamily="34" charset="0"/>
                  </a:rPr>
                  <a:t>| </a:t>
                </a:r>
                <a:br>
                  <a:rPr lang="en-IN" sz="1048" b="1">
                    <a:solidFill>
                      <a:srgbClr val="000000"/>
                    </a:solidFill>
                    <a:latin typeface="Calibri" panose="020F0502020204030204" pitchFamily="34" charset="0"/>
                  </a:rPr>
                </a:br>
                <a:r>
                  <a:rPr lang="en-IN" sz="1048" b="1">
                    <a:solidFill>
                      <a:srgbClr val="264796"/>
                    </a:solidFill>
                    <a:latin typeface="Calibri" panose="020F0502020204030204" pitchFamily="34" charset="0"/>
                  </a:rPr>
                  <a:t>Offshore</a:t>
                </a:r>
                <a:endParaRPr lang="en-IN" sz="1048" b="1">
                  <a:solidFill>
                    <a:srgbClr val="264796"/>
                  </a:solidFill>
                  <a:latin typeface="Trebuchet MS"/>
                </a:endParaRPr>
              </a:p>
            </p:txBody>
          </p:sp>
        </p:grpSp>
        <p:graphicFrame>
          <p:nvGraphicFramePr>
            <p:cNvPr id="92" name="Chart 91">
              <a:extLst>
                <a:ext uri="{FF2B5EF4-FFF2-40B4-BE49-F238E27FC236}">
                  <a16:creationId xmlns:a16="http://schemas.microsoft.com/office/drawing/2014/main" id="{5AC0BE2C-CFF9-45F3-A3AA-FFA4A4DB819B}"/>
                </a:ext>
              </a:extLst>
            </p:cNvPr>
            <p:cNvGraphicFramePr/>
            <p:nvPr>
              <p:custDataLst>
                <p:tags r:id="rId21"/>
              </p:custDataLst>
              <p:extLst>
                <p:ext uri="{D42A27DB-BD31-4B8C-83A1-F6EECF244321}">
                  <p14:modId xmlns:p14="http://schemas.microsoft.com/office/powerpoint/2010/main" val="47286927"/>
                </p:ext>
              </p:extLst>
            </p:nvPr>
          </p:nvGraphicFramePr>
          <p:xfrm>
            <a:off x="2897618" y="1750611"/>
            <a:ext cx="3021452" cy="156667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7"/>
            </a:graphicData>
          </a:graphic>
        </p:graphicFrame>
        <p:pic>
          <p:nvPicPr>
            <p:cNvPr id="176" name="Picture 175" descr="A picture containing map&#10;&#10;Description automatically generated">
              <a:extLst>
                <a:ext uri="{FF2B5EF4-FFF2-40B4-BE49-F238E27FC236}">
                  <a16:creationId xmlns:a16="http://schemas.microsoft.com/office/drawing/2014/main" id="{15E88DB6-35CD-CA2A-B38C-A8277538E04E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8243633" y="1407655"/>
              <a:ext cx="2511284" cy="269287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5A4DB9D0-3F73-3571-3A4A-49CF5B0B3FC3}"/>
                </a:ext>
              </a:extLst>
            </p:cNvPr>
            <p:cNvSpPr/>
            <p:nvPr/>
          </p:nvSpPr>
          <p:spPr>
            <a:xfrm rot="11415712">
              <a:off x="6196789" y="2098147"/>
              <a:ext cx="2409976" cy="1327147"/>
            </a:xfrm>
            <a:custGeom>
              <a:avLst/>
              <a:gdLst>
                <a:gd name="connsiteX0" fmla="*/ 3248298 w 3248298"/>
                <a:gd name="connsiteY0" fmla="*/ 0 h 3066413"/>
                <a:gd name="connsiteX1" fmla="*/ 3248298 w 3248298"/>
                <a:gd name="connsiteY1" fmla="*/ 3066413 h 3066413"/>
                <a:gd name="connsiteX2" fmla="*/ 49081 w 3248298"/>
                <a:gd name="connsiteY2" fmla="*/ 1875414 h 3066413"/>
                <a:gd name="connsiteX3" fmla="*/ 49652 w 3248298"/>
                <a:gd name="connsiteY3" fmla="*/ 1875356 h 3066413"/>
                <a:gd name="connsiteX4" fmla="*/ 316559 w 3248298"/>
                <a:gd name="connsiteY4" fmla="*/ 1547872 h 3066413"/>
                <a:gd name="connsiteX5" fmla="*/ 49652 w 3248298"/>
                <a:gd name="connsiteY5" fmla="*/ 1220388 h 3066413"/>
                <a:gd name="connsiteX6" fmla="*/ 0 w 3248298"/>
                <a:gd name="connsiteY6" fmla="*/ 1215383 h 3066413"/>
                <a:gd name="connsiteX7" fmla="*/ 0 w 3248298"/>
                <a:gd name="connsiteY7" fmla="*/ 1209271 h 3066413"/>
                <a:gd name="connsiteX8" fmla="*/ 3248298 w 3248298"/>
                <a:gd name="connsiteY8" fmla="*/ 0 h 3066413"/>
                <a:gd name="connsiteX0" fmla="*/ 2968898 w 3248298"/>
                <a:gd name="connsiteY0" fmla="*/ 0 h 3256913"/>
                <a:gd name="connsiteX1" fmla="*/ 3248298 w 3248298"/>
                <a:gd name="connsiteY1" fmla="*/ 3256913 h 3256913"/>
                <a:gd name="connsiteX2" fmla="*/ 49081 w 3248298"/>
                <a:gd name="connsiteY2" fmla="*/ 2065914 h 3256913"/>
                <a:gd name="connsiteX3" fmla="*/ 49652 w 3248298"/>
                <a:gd name="connsiteY3" fmla="*/ 2065856 h 3256913"/>
                <a:gd name="connsiteX4" fmla="*/ 316559 w 3248298"/>
                <a:gd name="connsiteY4" fmla="*/ 1738372 h 3256913"/>
                <a:gd name="connsiteX5" fmla="*/ 49652 w 3248298"/>
                <a:gd name="connsiteY5" fmla="*/ 1410888 h 3256913"/>
                <a:gd name="connsiteX6" fmla="*/ 0 w 3248298"/>
                <a:gd name="connsiteY6" fmla="*/ 1405883 h 3256913"/>
                <a:gd name="connsiteX7" fmla="*/ 0 w 3248298"/>
                <a:gd name="connsiteY7" fmla="*/ 1399771 h 3256913"/>
                <a:gd name="connsiteX8" fmla="*/ 2968898 w 3248298"/>
                <a:gd name="connsiteY8" fmla="*/ 0 h 3256913"/>
                <a:gd name="connsiteX0" fmla="*/ 2968898 w 2968898"/>
                <a:gd name="connsiteY0" fmla="*/ 0 h 3066413"/>
                <a:gd name="connsiteX1" fmla="*/ 2879998 w 2968898"/>
                <a:gd name="connsiteY1" fmla="*/ 3066413 h 3066413"/>
                <a:gd name="connsiteX2" fmla="*/ 49081 w 2968898"/>
                <a:gd name="connsiteY2" fmla="*/ 2065914 h 3066413"/>
                <a:gd name="connsiteX3" fmla="*/ 49652 w 2968898"/>
                <a:gd name="connsiteY3" fmla="*/ 2065856 h 3066413"/>
                <a:gd name="connsiteX4" fmla="*/ 316559 w 2968898"/>
                <a:gd name="connsiteY4" fmla="*/ 1738372 h 3066413"/>
                <a:gd name="connsiteX5" fmla="*/ 49652 w 2968898"/>
                <a:gd name="connsiteY5" fmla="*/ 1410888 h 3066413"/>
                <a:gd name="connsiteX6" fmla="*/ 0 w 2968898"/>
                <a:gd name="connsiteY6" fmla="*/ 1405883 h 3066413"/>
                <a:gd name="connsiteX7" fmla="*/ 0 w 2968898"/>
                <a:gd name="connsiteY7" fmla="*/ 1399771 h 3066413"/>
                <a:gd name="connsiteX8" fmla="*/ 2968898 w 2968898"/>
                <a:gd name="connsiteY8" fmla="*/ 0 h 3066413"/>
                <a:gd name="connsiteX0" fmla="*/ 2968898 w 3032398"/>
                <a:gd name="connsiteY0" fmla="*/ 0 h 3079113"/>
                <a:gd name="connsiteX1" fmla="*/ 3032398 w 3032398"/>
                <a:gd name="connsiteY1" fmla="*/ 3079113 h 3079113"/>
                <a:gd name="connsiteX2" fmla="*/ 49081 w 3032398"/>
                <a:gd name="connsiteY2" fmla="*/ 2065914 h 3079113"/>
                <a:gd name="connsiteX3" fmla="*/ 49652 w 3032398"/>
                <a:gd name="connsiteY3" fmla="*/ 2065856 h 3079113"/>
                <a:gd name="connsiteX4" fmla="*/ 316559 w 3032398"/>
                <a:gd name="connsiteY4" fmla="*/ 1738372 h 3079113"/>
                <a:gd name="connsiteX5" fmla="*/ 49652 w 3032398"/>
                <a:gd name="connsiteY5" fmla="*/ 1410888 h 3079113"/>
                <a:gd name="connsiteX6" fmla="*/ 0 w 3032398"/>
                <a:gd name="connsiteY6" fmla="*/ 1405883 h 3079113"/>
                <a:gd name="connsiteX7" fmla="*/ 0 w 3032398"/>
                <a:gd name="connsiteY7" fmla="*/ 1399771 h 3079113"/>
                <a:gd name="connsiteX8" fmla="*/ 2968898 w 3032398"/>
                <a:gd name="connsiteY8" fmla="*/ 0 h 3079113"/>
                <a:gd name="connsiteX0" fmla="*/ 2930798 w 3032398"/>
                <a:gd name="connsiteY0" fmla="*/ 0 h 3091813"/>
                <a:gd name="connsiteX1" fmla="*/ 3032398 w 3032398"/>
                <a:gd name="connsiteY1" fmla="*/ 3091813 h 3091813"/>
                <a:gd name="connsiteX2" fmla="*/ 49081 w 3032398"/>
                <a:gd name="connsiteY2" fmla="*/ 2078614 h 3091813"/>
                <a:gd name="connsiteX3" fmla="*/ 49652 w 3032398"/>
                <a:gd name="connsiteY3" fmla="*/ 2078556 h 3091813"/>
                <a:gd name="connsiteX4" fmla="*/ 316559 w 3032398"/>
                <a:gd name="connsiteY4" fmla="*/ 1751072 h 3091813"/>
                <a:gd name="connsiteX5" fmla="*/ 49652 w 3032398"/>
                <a:gd name="connsiteY5" fmla="*/ 1423588 h 3091813"/>
                <a:gd name="connsiteX6" fmla="*/ 0 w 3032398"/>
                <a:gd name="connsiteY6" fmla="*/ 1418583 h 3091813"/>
                <a:gd name="connsiteX7" fmla="*/ 0 w 3032398"/>
                <a:gd name="connsiteY7" fmla="*/ 1412471 h 3091813"/>
                <a:gd name="connsiteX8" fmla="*/ 2930798 w 3032398"/>
                <a:gd name="connsiteY8" fmla="*/ 0 h 3091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32398" h="3091813">
                  <a:moveTo>
                    <a:pt x="2930798" y="0"/>
                  </a:moveTo>
                  <a:lnTo>
                    <a:pt x="3032398" y="3091813"/>
                  </a:lnTo>
                  <a:lnTo>
                    <a:pt x="49081" y="2078614"/>
                  </a:lnTo>
                  <a:lnTo>
                    <a:pt x="49652" y="2078556"/>
                  </a:lnTo>
                  <a:cubicBezTo>
                    <a:pt x="201976" y="2047386"/>
                    <a:pt x="316559" y="1912610"/>
                    <a:pt x="316559" y="1751072"/>
                  </a:cubicBezTo>
                  <a:cubicBezTo>
                    <a:pt x="316559" y="1589534"/>
                    <a:pt x="201976" y="1454758"/>
                    <a:pt x="49652" y="1423588"/>
                  </a:cubicBezTo>
                  <a:lnTo>
                    <a:pt x="0" y="1418583"/>
                  </a:lnTo>
                  <a:lnTo>
                    <a:pt x="0" y="1412471"/>
                  </a:lnTo>
                  <a:lnTo>
                    <a:pt x="2930798" y="0"/>
                  </a:lnTo>
                  <a:close/>
                </a:path>
              </a:pathLst>
            </a:custGeom>
            <a:gradFill flip="none" rotWithShape="1">
              <a:gsLst>
                <a:gs pos="21000">
                  <a:schemeClr val="accent3">
                    <a:alpha val="77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 w="285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871057">
                <a:defRPr/>
              </a:pPr>
              <a:endParaRPr lang="en-US" sz="1715">
                <a:solidFill>
                  <a:prstClr val="white"/>
                </a:solidFill>
                <a:latin typeface="Trebuchet MS"/>
              </a:endParaRPr>
            </a:p>
          </p:txBody>
        </p: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37D0957A-5A58-4DC3-B098-BFE68499F700}"/>
              </a:ext>
            </a:extLst>
          </p:cNvPr>
          <p:cNvSpPr txBox="1"/>
          <p:nvPr/>
        </p:nvSpPr>
        <p:spPr>
          <a:xfrm>
            <a:off x="6483262" y="4283634"/>
            <a:ext cx="4654801" cy="23455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241294" indent="-241294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  <a:defRPr sz="1400"/>
            </a:lvl1pPr>
          </a:lstStyle>
          <a:p>
            <a:pPr marL="102881" lvl="1" algn="ctr" defTabSz="871057">
              <a:spcAft>
                <a:spcPts val="286"/>
              </a:spcAft>
              <a:buClr>
                <a:prstClr val="white"/>
              </a:buClr>
              <a:defRPr/>
            </a:pPr>
            <a:r>
              <a:rPr lang="en-US" sz="1524" b="1" dirty="0">
                <a:solidFill>
                  <a:srgbClr val="FFD700"/>
                </a:solidFill>
                <a:latin typeface="Trebuchet MS"/>
              </a:rPr>
              <a:t>Key characteristics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DBA45E7F-6D86-4955-BEAC-6D454EA0304D}"/>
              </a:ext>
            </a:extLst>
          </p:cNvPr>
          <p:cNvCxnSpPr>
            <a:cxnSpLocks/>
          </p:cNvCxnSpPr>
          <p:nvPr/>
        </p:nvCxnSpPr>
        <p:spPr>
          <a:xfrm flipH="1">
            <a:off x="6521355" y="4587714"/>
            <a:ext cx="4654802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D7B2C4D0-BEAB-4A7C-93F6-87952C621299}"/>
              </a:ext>
            </a:extLst>
          </p:cNvPr>
          <p:cNvSpPr txBox="1"/>
          <p:nvPr/>
        </p:nvSpPr>
        <p:spPr>
          <a:xfrm>
            <a:off x="898750" y="696366"/>
            <a:ext cx="5102352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en-US" sz="1715" b="1" dirty="0">
                <a:solidFill>
                  <a:srgbClr val="BCF6D3"/>
                </a:solidFill>
                <a:latin typeface="Trebuchet MS"/>
              </a:rPr>
              <a:t>Mostly discovered, Mesozoic an opportunity</a:t>
            </a:r>
          </a:p>
        </p:txBody>
      </p:sp>
      <p:sp>
        <p:nvSpPr>
          <p:cNvPr id="105" name="TextBox 95"/>
          <p:cNvSpPr txBox="1"/>
          <p:nvPr/>
        </p:nvSpPr>
        <p:spPr>
          <a:xfrm>
            <a:off x="9371348" y="2969651"/>
            <a:ext cx="164051" cy="14442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71057"/>
            <a:r>
              <a:rPr lang="en-IN" sz="1715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0" name="TextBox 95"/>
          <p:cNvSpPr txBox="1"/>
          <p:nvPr/>
        </p:nvSpPr>
        <p:spPr>
          <a:xfrm>
            <a:off x="8793673" y="2116748"/>
            <a:ext cx="164051" cy="14442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71057"/>
            <a:r>
              <a:rPr lang="en-IN" sz="1715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D7740522-C3F0-4AF0-A78D-86A88438D540}"/>
              </a:ext>
            </a:extLst>
          </p:cNvPr>
          <p:cNvCxnSpPr/>
          <p:nvPr/>
        </p:nvCxnSpPr>
        <p:spPr>
          <a:xfrm>
            <a:off x="31554" y="579604"/>
            <a:ext cx="12124944" cy="0"/>
          </a:xfrm>
          <a:prstGeom prst="line">
            <a:avLst/>
          </a:prstGeom>
          <a:ln w="101600" cap="rnd" cmpd="thinThick">
            <a:solidFill>
              <a:schemeClr val="tx2">
                <a:lumMod val="5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5C271D6F-5B87-4E09-9084-C6DD689AD7B7}"/>
              </a:ext>
            </a:extLst>
          </p:cNvPr>
          <p:cNvSpPr txBox="1"/>
          <p:nvPr/>
        </p:nvSpPr>
        <p:spPr>
          <a:xfrm>
            <a:off x="3156438" y="145886"/>
            <a:ext cx="6378961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>
            <a:spAutoFit/>
          </a:bodyPr>
          <a:lstStyle/>
          <a:p>
            <a:pPr algn="ctr" defTabSz="871057">
              <a:defRPr/>
            </a:pPr>
            <a:r>
              <a:rPr lang="en-US" sz="2400" b="1" dirty="0">
                <a:solidFill>
                  <a:srgbClr val="000066"/>
                </a:solidFill>
                <a:latin typeface="Trebuchet MS"/>
              </a:rPr>
              <a:t>Mumbai Basin (Blocks under Finalization)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B8C595B8-E2A3-4B71-A70E-B66C3C853AE7}"/>
              </a:ext>
            </a:extLst>
          </p:cNvPr>
          <p:cNvSpPr/>
          <p:nvPr/>
        </p:nvSpPr>
        <p:spPr>
          <a:xfrm>
            <a:off x="11362100" y="6401285"/>
            <a:ext cx="358198" cy="39937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360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EFB967-B05F-44F5-A9D5-4058FBF90A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90518" y="164078"/>
          <a:ext cx="1513" cy="1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395" imgH="394" progId="TCLayout.ActiveDocument.1">
                  <p:embed/>
                </p:oleObj>
              </mc:Choice>
              <mc:Fallback>
                <p:oleObj name="think-cell Slide" r:id="rId47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EFB967-B05F-44F5-A9D5-4058FBF90A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90518" y="164078"/>
                        <a:ext cx="1513" cy="15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: Top Corners Rounded 41">
            <a:extLst>
              <a:ext uri="{FF2B5EF4-FFF2-40B4-BE49-F238E27FC236}">
                <a16:creationId xmlns:a16="http://schemas.microsoft.com/office/drawing/2014/main" id="{5049CF61-ABF0-F56E-021F-6060B4B77027}"/>
              </a:ext>
            </a:extLst>
          </p:cNvPr>
          <p:cNvSpPr/>
          <p:nvPr/>
        </p:nvSpPr>
        <p:spPr>
          <a:xfrm rot="5400000">
            <a:off x="979261" y="3770158"/>
            <a:ext cx="192056" cy="479380"/>
          </a:xfrm>
          <a:prstGeom prst="round2SameRect">
            <a:avLst>
              <a:gd name="adj1" fmla="val 23391"/>
              <a:gd name="adj2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endParaRPr lang="en-US" sz="1143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5D5CA76-A840-B143-CCA3-E564CC8D7FF4}"/>
              </a:ext>
            </a:extLst>
          </p:cNvPr>
          <p:cNvSpPr txBox="1"/>
          <p:nvPr/>
        </p:nvSpPr>
        <p:spPr>
          <a:xfrm>
            <a:off x="835598" y="3921907"/>
            <a:ext cx="522630" cy="17588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871057">
              <a:defRPr/>
            </a:pPr>
            <a:r>
              <a:rPr lang="en-US" sz="1143">
                <a:solidFill>
                  <a:prstClr val="white"/>
                </a:solidFill>
                <a:latin typeface="Trebuchet MS"/>
                <a:sym typeface="Trebuchet MS" panose="020B0603020202020204" pitchFamily="34" charset="0"/>
              </a:rPr>
              <a:t>Known</a:t>
            </a:r>
          </a:p>
        </p:txBody>
      </p:sp>
      <p:sp>
        <p:nvSpPr>
          <p:cNvPr id="45" name="Rectangle: Top Corners Rounded 44">
            <a:extLst>
              <a:ext uri="{FF2B5EF4-FFF2-40B4-BE49-F238E27FC236}">
                <a16:creationId xmlns:a16="http://schemas.microsoft.com/office/drawing/2014/main" id="{9EAFF511-64D2-4ACF-26A4-2F168DBF7B3F}"/>
              </a:ext>
            </a:extLst>
          </p:cNvPr>
          <p:cNvSpPr/>
          <p:nvPr/>
        </p:nvSpPr>
        <p:spPr>
          <a:xfrm rot="5400000">
            <a:off x="-38476" y="5001120"/>
            <a:ext cx="2226016" cy="477867"/>
          </a:xfrm>
          <a:prstGeom prst="round2SameRect">
            <a:avLst>
              <a:gd name="adj1" fmla="val 9689"/>
              <a:gd name="adj2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endParaRPr lang="en-US" sz="1143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52" name="ee4pHeader2">
            <a:extLst>
              <a:ext uri="{FF2B5EF4-FFF2-40B4-BE49-F238E27FC236}">
                <a16:creationId xmlns:a16="http://schemas.microsoft.com/office/drawing/2014/main" id="{E7D1DCE8-B9CE-9434-7E5C-C5D6CAD82E28}"/>
              </a:ext>
            </a:extLst>
          </p:cNvPr>
          <p:cNvSpPr txBox="1"/>
          <p:nvPr/>
        </p:nvSpPr>
        <p:spPr>
          <a:xfrm>
            <a:off x="835599" y="3497954"/>
            <a:ext cx="4989073" cy="22986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 defTabSz="871057">
              <a:defRPr/>
            </a:pPr>
            <a:r>
              <a:rPr lang="en-US" sz="1524" b="1" dirty="0">
                <a:solidFill>
                  <a:srgbClr val="264796"/>
                </a:solidFill>
                <a:latin typeface="Trebuchet MS"/>
              </a:rPr>
              <a:t>Basin's risked resource potential – 2,796 MMTOE</a:t>
            </a:r>
          </a:p>
        </p:txBody>
      </p:sp>
      <p:graphicFrame>
        <p:nvGraphicFramePr>
          <p:cNvPr id="102" name="Chart 101">
            <a:extLst>
              <a:ext uri="{FF2B5EF4-FFF2-40B4-BE49-F238E27FC236}">
                <a16:creationId xmlns:a16="http://schemas.microsoft.com/office/drawing/2014/main" id="{B60FD05E-0E4E-4528-A679-9661C3B11A9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5437866"/>
              </p:ext>
            </p:extLst>
          </p:nvPr>
        </p:nvGraphicFramePr>
        <p:xfrm>
          <a:off x="3389770" y="3836696"/>
          <a:ext cx="2507291" cy="2669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A34C180A-2522-732C-6A41-4F51609DE867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 flipH="1" flipV="1">
            <a:off x="3477477" y="6297107"/>
            <a:ext cx="102832" cy="31757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4E6D7A1A-DD8D-55E1-3408-C101B9ED7EE9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H="1">
            <a:off x="3512259" y="5619625"/>
            <a:ext cx="278252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A90F05E8-AEAC-3882-1B9C-0ED0AED273DF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 flipH="1">
            <a:off x="3471430" y="5232492"/>
            <a:ext cx="37806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97A17A3B-9A0A-2DE8-C829-46FC4DE07BD2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H="1">
            <a:off x="3489576" y="5416986"/>
            <a:ext cx="114930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9E49C672-B940-8932-1B9B-10AF9D12539B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4109594" y="5651383"/>
            <a:ext cx="0" cy="10586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1EB615ED-2D84-1B4E-E17A-9B8528CC8C96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H="1">
            <a:off x="3545528" y="5459328"/>
            <a:ext cx="346303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14FEBD10-F29D-72FE-A1ED-E0B9A31D6D67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3832854" y="4027240"/>
            <a:ext cx="0" cy="10586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F51924A0-0811-97F5-C64B-71E6D602487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H="1">
            <a:off x="3468405" y="3995482"/>
            <a:ext cx="140639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C3E12417-E9DE-D78F-4518-4FCCDE8102B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H="1">
            <a:off x="3527383" y="4037824"/>
            <a:ext cx="305472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B3E07CB0-C8DE-2DF1-0099-4912FDB11175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 flipV="1">
            <a:off x="4304672" y="6026419"/>
            <a:ext cx="0" cy="10586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305E2F01-A33A-03E9-3D1A-62C81A47507C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>
            <a:off x="3701290" y="5256690"/>
            <a:ext cx="0" cy="9073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B80D9553-3F38-D60D-8DA0-B9035E1AA1F7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3891832" y="5448744"/>
            <a:ext cx="0" cy="10586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C9E63E9B-6C87-A1FF-FF91-83DBB31D9731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 flipH="1">
            <a:off x="3693729" y="5661968"/>
            <a:ext cx="415866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2F85839A-E9F9-A2CB-E726-B26532AED021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H="1">
            <a:off x="3530406" y="6068760"/>
            <a:ext cx="455184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20683010-8E99-20E6-D184-E11AEBA892A6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H="1">
            <a:off x="3888809" y="6026417"/>
            <a:ext cx="415866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DD021D49-FFD6-EA2A-A5B3-2BE03EE0933E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H="1">
            <a:off x="3480504" y="5265762"/>
            <a:ext cx="220787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62A9A0C7-7C4F-8827-349E-47A9D4114313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 flipH="1" flipV="1">
            <a:off x="3516796" y="6297107"/>
            <a:ext cx="151224" cy="31757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Text Placeholder 3">
            <a:extLst>
              <a:ext uri="{FF2B5EF4-FFF2-40B4-BE49-F238E27FC236}">
                <a16:creationId xmlns:a16="http://schemas.microsoft.com/office/drawing/2014/main" id="{B87B0064-6790-8AA8-710D-6BCA0C43657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936507" y="4756137"/>
            <a:ext cx="1409406" cy="145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fld id="{635418D3-25CF-49EF-884B-13F5FFA30F86}" type="datetime'''0''''4'''' MI''''''OCEN''E''_''''TH''E''''''R''MO''GEN''IC'">
              <a:rPr lang="en-US" altLang="en-US" sz="953" spc="-29">
                <a:latin typeface="Trebuchet MS"/>
              </a:rPr>
              <a:pPr algn="r" defTabSz="871057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04 MIOCENE_THERMOGENIC</a:t>
            </a:fld>
            <a:endParaRPr lang="en-US" sz="953" spc="-29">
              <a:latin typeface="Trebuchet MS"/>
            </a:endParaRP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847CF180-0D74-2549-D836-31E5F8FFB4B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052951" y="3936505"/>
            <a:ext cx="1292964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3C7B9274-9E61-4F4B-B1F1-1FADD27FBCC6}" type="datetime'''12'' ''AR''''CHEAN''''''''_''''''''''B''A''SE''''''MENT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12 ARCHEAN_BASEMENT</a:t>
            </a:fld>
            <a:endParaRPr lang="en-US" sz="953">
              <a:latin typeface="Trebuchet MS"/>
            </a:endParaRP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871E6739-64D7-03D4-171F-73336398860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609044" y="3866943"/>
            <a:ext cx="111906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64796"/>
                </a:solidFill>
              </a14:hiddenFill>
            </a:ext>
          </a:extLst>
        </p:spPr>
        <p:txBody>
          <a:bodyPr vert="horz" wrap="none" lIns="24196" tIns="0" rIns="24196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871057">
              <a:spcBef>
                <a:spcPct val="0"/>
              </a:spcBef>
              <a:spcAft>
                <a:spcPct val="0"/>
              </a:spcAft>
              <a:defRPr/>
            </a:pPr>
            <a:fld id="{33184394-4A67-455D-B5EC-B852F4065582}" type="datetime'''''''''''''''''''''''''''''''''''''''''''''''0'''''">
              <a:rPr lang="en-US" altLang="en-US" sz="953">
                <a:latin typeface="Trebuchet MS"/>
              </a:rPr>
              <a:pPr defTabSz="871057">
                <a:spcBef>
                  <a:spcPct val="0"/>
                </a:spcBef>
                <a:spcAft>
                  <a:spcPct val="0"/>
                </a:spcAft>
                <a:defRPr/>
              </a:pPr>
              <a:t>0</a:t>
            </a:fld>
            <a:endParaRPr lang="en-US" sz="953">
              <a:latin typeface="Trebuchet MS"/>
            </a:endParaRPr>
          </a:p>
        </p:txBody>
      </p:sp>
      <p:sp>
        <p:nvSpPr>
          <p:cNvPr id="119" name="Text Placeholder 3">
            <a:extLst>
              <a:ext uri="{FF2B5EF4-FFF2-40B4-BE49-F238E27FC236}">
                <a16:creationId xmlns:a16="http://schemas.microsoft.com/office/drawing/2014/main" id="{FD2C673F-BDB9-CA13-D4B1-1C528D7FD1C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716822" y="5967442"/>
            <a:ext cx="629091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63E10634-741F-4C86-A4FB-DE038CA2A05C}" type="datetime'''1''''''0 ''''''''''T''''''''''''''R''IA''SS''IC''''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10 TRIASSIC</a:t>
            </a:fld>
            <a:endParaRPr lang="en-US" sz="953">
              <a:latin typeface="Trebuchet MS"/>
            </a:endParaRPr>
          </a:p>
        </p:txBody>
      </p:sp>
      <p:sp>
        <p:nvSpPr>
          <p:cNvPr id="146" name="Text Placeholder 3">
            <a:extLst>
              <a:ext uri="{FF2B5EF4-FFF2-40B4-BE49-F238E27FC236}">
                <a16:creationId xmlns:a16="http://schemas.microsoft.com/office/drawing/2014/main" id="{E1BD8763-BE35-1BE3-D4DC-934F771B0B2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098599" y="4166000"/>
            <a:ext cx="238934" cy="103200"/>
          </a:xfrm>
          <a:prstGeom prst="rect">
            <a:avLst/>
          </a:prstGeom>
          <a:solidFill>
            <a:srgbClr val="5A5A5A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973184B1-8C06-4AB4-B32A-D73A8D4DD42A}" type="datetime'''''''''''''''''''''60''''''''''''''6'''''''''''''">
              <a:rPr lang="en-US" altLang="en-US" sz="953">
                <a:solidFill>
                  <a:prstClr val="white"/>
                </a:solidFill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606</a:t>
            </a:fld>
            <a:endParaRPr lang="en-US" sz="953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0" name="Text Placeholder 3">
            <a:extLst>
              <a:ext uri="{FF2B5EF4-FFF2-40B4-BE49-F238E27FC236}">
                <a16:creationId xmlns:a16="http://schemas.microsoft.com/office/drawing/2014/main" id="{0B1F12DC-30BB-000B-2B3A-4004E356B32C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839856" y="5791763"/>
            <a:ext cx="238934" cy="91440"/>
          </a:xfrm>
          <a:prstGeom prst="rect">
            <a:avLst/>
          </a:prstGeom>
          <a:solidFill>
            <a:srgbClr val="32B842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E258D58D-40C2-44BF-921B-4D6DBD9FA814}" type="datetime'''''''''''''''''''''''''''''''5''0''''''''2'''''''''''''">
              <a:rPr lang="en-US" altLang="en-US" sz="953"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502</a:t>
            </a:fld>
            <a:endParaRPr lang="en-US" sz="953" dirty="0">
              <a:latin typeface="Trebuchet MS"/>
            </a:endParaRPr>
          </a:p>
        </p:txBody>
      </p:sp>
      <p:sp>
        <p:nvSpPr>
          <p:cNvPr id="149" name="Text Placeholder 3">
            <a:extLst>
              <a:ext uri="{FF2B5EF4-FFF2-40B4-BE49-F238E27FC236}">
                <a16:creationId xmlns:a16="http://schemas.microsoft.com/office/drawing/2014/main" id="{7CE303B2-B3D9-ADD7-7D43-6DDD9453D31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829722" y="5791730"/>
            <a:ext cx="238934" cy="91440"/>
          </a:xfrm>
          <a:prstGeom prst="rect">
            <a:avLst/>
          </a:prstGeom>
          <a:solidFill>
            <a:srgbClr val="5A5A5A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DC1B328B-4EF3-4E41-8836-E4B56BE034AA}" type="datetime'5''''''0''''5'''''''''''''''''''''''''''''''">
              <a:rPr lang="en-US" altLang="en-US" sz="953">
                <a:solidFill>
                  <a:prstClr val="white"/>
                </a:solidFill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505</a:t>
            </a:fld>
            <a:endParaRPr lang="en-US" sz="953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66EF54FF-B3AF-91FD-9FC9-B5AF30BA7FA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923589" y="4166000"/>
            <a:ext cx="238934" cy="103200"/>
          </a:xfrm>
          <a:prstGeom prst="rect">
            <a:avLst/>
          </a:prstGeom>
          <a:solidFill>
            <a:srgbClr val="32B842"/>
          </a:solidFill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D4F2EE4A-C518-4505-989F-4EC9077D2B8E}" type="datetime'5''''''''''''80'''''''''''''''''''''''''''">
              <a:rPr lang="en-US" altLang="en-US" sz="1000"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580</a:t>
            </a:fld>
            <a:endParaRPr lang="en-US" sz="1000" dirty="0">
              <a:latin typeface="Trebuchet MS"/>
            </a:endParaRPr>
          </a:p>
        </p:txBody>
      </p: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1D5D1CFC-58E4-1DE9-190B-595E35B59CF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081681" y="4139145"/>
            <a:ext cx="1264231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BA2A6A48-5158-4279-B42D-DBBB706CDFF6}" type="datetime'01'' ''P''''''''''''''L''IO''CEN''E_''BI''''''''O''GENI''C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1 PLIOCENE_BIOGENIC</a:t>
            </a:fld>
            <a:endParaRPr lang="en-US" sz="953">
              <a:latin typeface="Trebuchet MS"/>
            </a:endParaRPr>
          </a:p>
        </p:txBody>
      </p:sp>
      <p:sp>
        <p:nvSpPr>
          <p:cNvPr id="122" name="Text Placeholder 3">
            <a:extLst>
              <a:ext uri="{FF2B5EF4-FFF2-40B4-BE49-F238E27FC236}">
                <a16:creationId xmlns:a16="http://schemas.microsoft.com/office/drawing/2014/main" id="{B0BCE160-DCF8-CF2D-C84D-FF750DF0C21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643415" y="4375518"/>
            <a:ext cx="238934" cy="91440"/>
          </a:xfrm>
          <a:prstGeom prst="rect">
            <a:avLst/>
          </a:prstGeom>
          <a:solidFill>
            <a:srgbClr val="5A5A5A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911715A9-F899-4355-91D6-E0AF28D7CDB8}" type="datetime'''''''''''''''7''''''''''''''''''''''''''''3''''''''''2'''''''">
              <a:rPr lang="en-US" altLang="en-US" sz="953">
                <a:solidFill>
                  <a:prstClr val="white"/>
                </a:solidFill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732</a:t>
            </a:fld>
            <a:endParaRPr lang="en-US" sz="953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3" name="Text Placeholder 3">
            <a:extLst>
              <a:ext uri="{FF2B5EF4-FFF2-40B4-BE49-F238E27FC236}">
                <a16:creationId xmlns:a16="http://schemas.microsoft.com/office/drawing/2014/main" id="{1F92E06C-1C3C-4ED1-BA6F-49078C127E5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630215" y="4375053"/>
            <a:ext cx="238934" cy="86198"/>
          </a:xfrm>
          <a:prstGeom prst="rect">
            <a:avLst/>
          </a:prstGeom>
          <a:solidFill>
            <a:srgbClr val="32B842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96D7E997-9010-4588-94F6-5B4D8A16EBEE}" type="datetime'''''''''''2''''''8''''''''''''''''''''''''''4'''">
              <a:rPr lang="en-US" altLang="en-US" sz="953"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284</a:t>
            </a:fld>
            <a:endParaRPr lang="en-US" sz="953" dirty="0">
              <a:latin typeface="Trebuchet MS"/>
            </a:endParaRPr>
          </a:p>
        </p:txBody>
      </p:sp>
      <p:sp>
        <p:nvSpPr>
          <p:cNvPr id="120" name="Text Placeholder 3">
            <a:extLst>
              <a:ext uri="{FF2B5EF4-FFF2-40B4-BE49-F238E27FC236}">
                <a16:creationId xmlns:a16="http://schemas.microsoft.com/office/drawing/2014/main" id="{57324C05-046E-E21A-4357-14256E6925C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710773" y="6170082"/>
            <a:ext cx="635140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29B6C43E-E37D-403A-91E4-E48CD657DC59}" type="datetime'''''1''''1 ''''''''''''''''''''PE''''''R''M''''I''A''''N''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11 PERMIAN</a:t>
            </a:fld>
            <a:endParaRPr lang="en-US" sz="953">
              <a:latin typeface="Trebuchet MS"/>
            </a:endParaRP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EF63CB11-A598-3963-13F1-1D246558B2C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515739" y="4781792"/>
            <a:ext cx="238934" cy="91440"/>
          </a:xfrm>
          <a:prstGeom prst="rect">
            <a:avLst/>
          </a:prstGeom>
          <a:solidFill>
            <a:srgbClr val="32B842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0377EF0B-AE5B-456E-956C-E36B496CC421}" type="datetime'''1''''''''''''''''''''''''''''6''''''8'''">
              <a:rPr lang="en-US" altLang="en-US" sz="953"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168</a:t>
            </a:fld>
            <a:endParaRPr lang="en-US" sz="953" dirty="0">
              <a:latin typeface="Trebuchet MS"/>
            </a:endParaRPr>
          </a:p>
        </p:txBody>
      </p:sp>
      <p:sp>
        <p:nvSpPr>
          <p:cNvPr id="65" name="Text Placeholder 3">
            <a:extLst>
              <a:ext uri="{FF2B5EF4-FFF2-40B4-BE49-F238E27FC236}">
                <a16:creationId xmlns:a16="http://schemas.microsoft.com/office/drawing/2014/main" id="{AED3A6C5-3412-55C1-2630-1B5BFE49142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555015" y="5155369"/>
            <a:ext cx="790901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C850EA16-77CE-471D-AD0E-AFB97EFAF744}" type="datetime'''''''''0''6'''''''' ''P''AL''E''O''''CE''N''E''''''''''''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6 PALEOCENE</a:t>
            </a:fld>
            <a:endParaRPr lang="en-US" sz="953">
              <a:latin typeface="Trebuchet MS"/>
            </a:endParaRPr>
          </a:p>
        </p:txBody>
      </p:sp>
      <p:sp>
        <p:nvSpPr>
          <p:cNvPr id="147" name="Text Placeholder 3">
            <a:extLst>
              <a:ext uri="{FF2B5EF4-FFF2-40B4-BE49-F238E27FC236}">
                <a16:creationId xmlns:a16="http://schemas.microsoft.com/office/drawing/2014/main" id="{666DB3FA-38D1-9516-BC11-35BC233FD7E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035986" y="4576112"/>
            <a:ext cx="238934" cy="91440"/>
          </a:xfrm>
          <a:prstGeom prst="rect">
            <a:avLst/>
          </a:prstGeom>
          <a:solidFill>
            <a:srgbClr val="5A5A5A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694968EE-658C-4C40-BF13-DD82BF0E66CB}" type="datetime'''''''''''''''2''''''''''''3''''''''''''''''6'''''''''''''">
              <a:rPr lang="en-US" altLang="en-US" sz="953">
                <a:solidFill>
                  <a:prstClr val="white"/>
                </a:solidFill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236</a:t>
            </a:fld>
            <a:endParaRPr lang="en-US" sz="953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66" name="Text Placeholder 3">
            <a:extLst>
              <a:ext uri="{FF2B5EF4-FFF2-40B4-BE49-F238E27FC236}">
                <a16:creationId xmlns:a16="http://schemas.microsoft.com/office/drawing/2014/main" id="{F72B06FF-9937-A6A4-B10A-78513517702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146708" y="5358009"/>
            <a:ext cx="1199205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DDEB2EF9-67A2-4029-85CC-4ADF74B29FD7}" type="datetime'''0''''''7 CR''E''''''''''''T''''''''ACEOU''S''_L''''A''''TE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7 CRETACEOUS_LATE</a:t>
            </a:fld>
            <a:endParaRPr lang="en-US" sz="953">
              <a:latin typeface="Trebuchet M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F5113D26-DB8F-A0A5-D2F2-D708BD94B75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3571237" y="4574670"/>
            <a:ext cx="238934" cy="91440"/>
          </a:xfrm>
          <a:prstGeom prst="rect">
            <a:avLst/>
          </a:prstGeom>
          <a:solidFill>
            <a:srgbClr val="32B842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FB6449AB-2920-48EB-B793-D3C400DA735B}" type="datetime'''''''''''''''''''''''''''''''''''''''''''22''''''''8'''''">
              <a:rPr lang="en-US" altLang="en-US" sz="953"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228</a:t>
            </a:fld>
            <a:endParaRPr lang="en-US" sz="953" dirty="0">
              <a:latin typeface="Trebuchet MS"/>
            </a:endParaRP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34660807-280D-3A47-D39A-35DF0EEC437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812505" y="4343298"/>
            <a:ext cx="1533409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EAD1CFDF-BD89-48B7-963C-DDDAE24D997D}" type="datetime'''0''2 P''''''''L''''I''''''''OC''E''NE_''''T''HERMO''GEN''IC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2 PLIOCENE_THERMOGENIC</a:t>
            </a:fld>
            <a:endParaRPr lang="en-US" sz="953">
              <a:latin typeface="Trebuchet MS"/>
            </a:endParaRPr>
          </a:p>
        </p:txBody>
      </p:sp>
      <p:sp>
        <p:nvSpPr>
          <p:cNvPr id="117" name="Text Placeholder 3">
            <a:extLst>
              <a:ext uri="{FF2B5EF4-FFF2-40B4-BE49-F238E27FC236}">
                <a16:creationId xmlns:a16="http://schemas.microsoft.com/office/drawing/2014/main" id="{EA6FC1E4-93B3-B0A4-6919-7883AAD33D6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075632" y="5560649"/>
            <a:ext cx="1270280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09EDDFB8-9C8D-4726-ADFD-DB2ACF6E7C47}" type="datetime'08 ''CR''ETA''''''C''E''O''US_E''''''''A''RL''''''''Y''''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8 CRETACEOUS_EARLY</a:t>
            </a:fld>
            <a:endParaRPr lang="en-US" sz="953">
              <a:latin typeface="Trebuchet MS"/>
            </a:endParaRP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AD80C3B0-EB24-3812-1E1F-C86D1C59B157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125539" y="4545938"/>
            <a:ext cx="1220377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EE942F94-EE29-4EE2-AADC-9DF089694E9C}" type="datetime'0''''3 MIO''CE''''''N''''E''''''_''''B''I''O''''GEN''''''I''C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3 MIOCENE_BIOGENIC</a:t>
            </a:fld>
            <a:endParaRPr lang="en-US" sz="953">
              <a:latin typeface="Trebuchet MS"/>
            </a:endParaRPr>
          </a:p>
        </p:txBody>
      </p:sp>
      <p:sp>
        <p:nvSpPr>
          <p:cNvPr id="118" name="Text Placeholder 3">
            <a:extLst>
              <a:ext uri="{FF2B5EF4-FFF2-40B4-BE49-F238E27FC236}">
                <a16:creationId xmlns:a16="http://schemas.microsoft.com/office/drawing/2014/main" id="{5743B554-F738-EF4E-E14B-A1F463B8C0C0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2352372" y="5763289"/>
            <a:ext cx="993541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03E4761F-7F9D-435C-95F5-704BCEB54177}" type="datetime'''0''''''''''9'' ''JU''''R''''''''ASSI''C''_LA''''T''E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9 JURASSIC_LATE</a:t>
            </a:fld>
            <a:endParaRPr lang="en-US" sz="953">
              <a:latin typeface="Trebuchet MS"/>
            </a:endParaRPr>
          </a:p>
        </p:txBody>
      </p:sp>
      <p:sp>
        <p:nvSpPr>
          <p:cNvPr id="148" name="Text Placeholder 3">
            <a:extLst>
              <a:ext uri="{FF2B5EF4-FFF2-40B4-BE49-F238E27FC236}">
                <a16:creationId xmlns:a16="http://schemas.microsoft.com/office/drawing/2014/main" id="{1E1F27C0-1282-0064-DFED-BBA48D1FC950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3841016" y="4781792"/>
            <a:ext cx="238934" cy="91440"/>
          </a:xfrm>
          <a:prstGeom prst="rect">
            <a:avLst/>
          </a:prstGeom>
          <a:solidFill>
            <a:srgbClr val="5A5A5A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DF1A9B59-BA38-4B3B-8BB9-008BE66A7EE9}" type="datetime'''''''''''''''''''''''''''1''''6''''3'''''''''''''''''''">
              <a:rPr lang="en-US" altLang="en-US" sz="953">
                <a:solidFill>
                  <a:prstClr val="white"/>
                </a:solidFill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163</a:t>
            </a:fld>
            <a:endParaRPr lang="en-US" sz="953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64" name="Text Placeholder 3">
            <a:extLst>
              <a:ext uri="{FF2B5EF4-FFF2-40B4-BE49-F238E27FC236}">
                <a16:creationId xmlns:a16="http://schemas.microsoft.com/office/drawing/2014/main" id="{F634DBCE-4C6C-4662-0DCE-7BF92E3F5D8A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2756142" y="4951218"/>
            <a:ext cx="589773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5BF38173-2049-4638-9918-28522FB24025}" type="datetime'''''''''0''''''5'''''''' ''EO''''''C''''''''''E''N''''''E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5 EOCENE</a:t>
            </a:fld>
            <a:endParaRPr lang="en-US" sz="953">
              <a:latin typeface="Trebuchet MS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8E40EF9F-B5B8-580C-5EAC-722FC6516121}"/>
              </a:ext>
            </a:extLst>
          </p:cNvPr>
          <p:cNvCxnSpPr>
            <a:cxnSpLocks/>
          </p:cNvCxnSpPr>
          <p:nvPr/>
        </p:nvCxnSpPr>
        <p:spPr>
          <a:xfrm flipH="1">
            <a:off x="835599" y="3783768"/>
            <a:ext cx="4989073" cy="0"/>
          </a:xfrm>
          <a:prstGeom prst="line">
            <a:avLst/>
          </a:prstGeom>
          <a:ln w="9525" cap="rnd">
            <a:solidFill>
              <a:schemeClr val="accent5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72">
            <a:extLst>
              <a:ext uri="{FF2B5EF4-FFF2-40B4-BE49-F238E27FC236}">
                <a16:creationId xmlns:a16="http://schemas.microsoft.com/office/drawing/2014/main" id="{2F6BF77B-7DB5-40AA-D273-8827AD90F2F4}"/>
              </a:ext>
            </a:extLst>
          </p:cNvPr>
          <p:cNvGrpSpPr/>
          <p:nvPr/>
        </p:nvGrpSpPr>
        <p:grpSpPr>
          <a:xfrm rot="5400000">
            <a:off x="7905603" y="2811349"/>
            <a:ext cx="2283091" cy="5556544"/>
            <a:chOff x="424729" y="1165597"/>
            <a:chExt cx="2223091" cy="5596622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CD80D34B-6F7D-EFF9-14F5-33C384D9C53F}"/>
                </a:ext>
              </a:extLst>
            </p:cNvPr>
            <p:cNvCxnSpPr>
              <a:cxnSpLocks/>
            </p:cNvCxnSpPr>
            <p:nvPr/>
          </p:nvCxnSpPr>
          <p:spPr>
            <a:xfrm>
              <a:off x="628197" y="1165597"/>
              <a:ext cx="453" cy="5596622"/>
            </a:xfrm>
            <a:prstGeom prst="line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44853014-7572-2F54-C90A-1EA8B60746E0}"/>
                </a:ext>
              </a:extLst>
            </p:cNvPr>
            <p:cNvGrpSpPr/>
            <p:nvPr/>
          </p:nvGrpSpPr>
          <p:grpSpPr>
            <a:xfrm>
              <a:off x="424737" y="1446097"/>
              <a:ext cx="2223083" cy="5035634"/>
              <a:chOff x="424738" y="1593214"/>
              <a:chExt cx="2150510" cy="4644719"/>
            </a:xfrm>
          </p:grpSpPr>
          <p:sp>
            <p:nvSpPr>
              <p:cNvPr id="79" name="Rectangle: Top Corners Rounded 78">
                <a:extLst>
                  <a:ext uri="{FF2B5EF4-FFF2-40B4-BE49-F238E27FC236}">
                    <a16:creationId xmlns:a16="http://schemas.microsoft.com/office/drawing/2014/main" id="{BA8429D0-13FE-782A-83B0-A00022AFEAA8}"/>
                  </a:ext>
                </a:extLst>
              </p:cNvPr>
              <p:cNvSpPr/>
              <p:nvPr/>
            </p:nvSpPr>
            <p:spPr>
              <a:xfrm rot="5400000">
                <a:off x="-727327" y="2935357"/>
                <a:ext cx="4549092" cy="2056059"/>
              </a:xfrm>
              <a:prstGeom prst="round2SameRect">
                <a:avLst>
                  <a:gd name="adj1" fmla="val 11574"/>
                  <a:gd name="adj2" fmla="val 0"/>
                </a:avLst>
              </a:prstGeom>
              <a:solidFill>
                <a:schemeClr val="accent1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0883">
                  <a:defRPr/>
                </a:pPr>
                <a:endParaRPr lang="en-US" sz="1048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80" name="Rectangle: Top Corners Rounded 79">
                <a:extLst>
                  <a:ext uri="{FF2B5EF4-FFF2-40B4-BE49-F238E27FC236}">
                    <a16:creationId xmlns:a16="http://schemas.microsoft.com/office/drawing/2014/main" id="{CE4EC3EC-A717-402A-57D8-E1654397CCF1}"/>
                  </a:ext>
                </a:extLst>
              </p:cNvPr>
              <p:cNvSpPr/>
              <p:nvPr/>
            </p:nvSpPr>
            <p:spPr>
              <a:xfrm rot="5400000">
                <a:off x="-853355" y="2871307"/>
                <a:ext cx="4632058" cy="2075872"/>
              </a:xfrm>
              <a:prstGeom prst="round2SameRect">
                <a:avLst>
                  <a:gd name="adj1" fmla="val 11574"/>
                  <a:gd name="adj2" fmla="val 0"/>
                </a:avLst>
              </a:prstGeom>
              <a:solidFill>
                <a:schemeClr val="tx2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0883">
                  <a:defRPr/>
                </a:pPr>
                <a:endParaRPr lang="en-US" sz="1048" dirty="0">
                  <a:solidFill>
                    <a:srgbClr val="FFFFFF"/>
                  </a:solidFill>
                  <a:latin typeface="Trebuchet MS"/>
                </a:endParaRPr>
              </a:p>
            </p:txBody>
          </p:sp>
        </p:grpSp>
        <p:sp>
          <p:nvSpPr>
            <p:cNvPr id="76" name="Right Triangle 75">
              <a:extLst>
                <a:ext uri="{FF2B5EF4-FFF2-40B4-BE49-F238E27FC236}">
                  <a16:creationId xmlns:a16="http://schemas.microsoft.com/office/drawing/2014/main" id="{D18AAEAD-736D-95C2-E751-D04273B8776C}"/>
                </a:ext>
              </a:extLst>
            </p:cNvPr>
            <p:cNvSpPr/>
            <p:nvPr/>
          </p:nvSpPr>
          <p:spPr>
            <a:xfrm flipH="1">
              <a:off x="424729" y="1223131"/>
              <a:ext cx="203468" cy="222955"/>
            </a:xfrm>
            <a:prstGeom prst="rtTriangle">
              <a:avLst/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0883">
                <a:defRPr/>
              </a:pPr>
              <a:endParaRPr lang="en-US" sz="1048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78" name="Right Triangle 77">
              <a:extLst>
                <a:ext uri="{FF2B5EF4-FFF2-40B4-BE49-F238E27FC236}">
                  <a16:creationId xmlns:a16="http://schemas.microsoft.com/office/drawing/2014/main" id="{BF31D946-D681-A353-F375-C60D02592C13}"/>
                </a:ext>
              </a:extLst>
            </p:cNvPr>
            <p:cNvSpPr/>
            <p:nvPr/>
          </p:nvSpPr>
          <p:spPr>
            <a:xfrm flipH="1" flipV="1">
              <a:off x="424729" y="6466492"/>
              <a:ext cx="203468" cy="222955"/>
            </a:xfrm>
            <a:prstGeom prst="rtTriangle">
              <a:avLst/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0883">
                <a:defRPr/>
              </a:pPr>
              <a:endParaRPr lang="en-US" sz="1048">
                <a:solidFill>
                  <a:srgbClr val="FFFFFF"/>
                </a:solidFill>
                <a:latin typeface="Trebuchet MS"/>
              </a:endParaRPr>
            </a:p>
          </p:txBody>
        </p:sp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CA91AFA3-E12D-E40C-F51F-025F72B0D1C1}"/>
              </a:ext>
            </a:extLst>
          </p:cNvPr>
          <p:cNvSpPr txBox="1"/>
          <p:nvPr/>
        </p:nvSpPr>
        <p:spPr>
          <a:xfrm>
            <a:off x="6809116" y="4812488"/>
            <a:ext cx="4764622" cy="18225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241294" indent="-241294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  <a:defRPr sz="1400"/>
            </a:lvl1pPr>
          </a:lstStyle>
          <a:p>
            <a:pPr marL="375086" lvl="1" indent="-272205" defTabSz="871057">
              <a:spcAft>
                <a:spcPts val="1143"/>
              </a:spcAft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430" dirty="0">
                <a:solidFill>
                  <a:prstClr val="white"/>
                </a:solidFill>
                <a:latin typeface="Trebuchet MS"/>
              </a:rPr>
              <a:t>Maximum resources, known for </a:t>
            </a:r>
            <a:r>
              <a:rPr lang="en-US" sz="1430" dirty="0">
                <a:solidFill>
                  <a:srgbClr val="FFD700"/>
                </a:solidFill>
                <a:latin typeface="Trebuchet MS"/>
              </a:rPr>
              <a:t>country’s largest deepwater biogenic gas field</a:t>
            </a:r>
            <a:endParaRPr lang="en-US" sz="1430" dirty="0">
              <a:solidFill>
                <a:prstClr val="white"/>
              </a:solidFill>
              <a:latin typeface="Trebuchet MS"/>
            </a:endParaRPr>
          </a:p>
          <a:p>
            <a:pPr marL="375086" lvl="1" indent="-272205" defTabSz="871057">
              <a:spcAft>
                <a:spcPts val="1143"/>
              </a:spcAft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430" dirty="0">
                <a:solidFill>
                  <a:prstClr val="white"/>
                </a:solidFill>
                <a:latin typeface="Trebuchet MS"/>
              </a:rPr>
              <a:t>With </a:t>
            </a:r>
            <a:r>
              <a:rPr lang="en-US" sz="1430" dirty="0">
                <a:solidFill>
                  <a:srgbClr val="FFD700"/>
                </a:solidFill>
                <a:latin typeface="Trebuchet MS"/>
              </a:rPr>
              <a:t>2.0 BTOE </a:t>
            </a:r>
            <a:r>
              <a:rPr lang="en-US" sz="1430" dirty="0">
                <a:solidFill>
                  <a:prstClr val="white"/>
                </a:solidFill>
                <a:latin typeface="Trebuchet MS"/>
              </a:rPr>
              <a:t>resource established, proven plays have significant prospective resources</a:t>
            </a:r>
          </a:p>
          <a:p>
            <a:pPr marL="375086" lvl="1" indent="-272205" defTabSz="871057">
              <a:spcAft>
                <a:spcPts val="1143"/>
              </a:spcAft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430" dirty="0">
                <a:solidFill>
                  <a:prstClr val="white"/>
                </a:solidFill>
                <a:latin typeface="Trebuchet MS"/>
              </a:rPr>
              <a:t>Deep/shallow water extensively appraised with </a:t>
            </a:r>
            <a:r>
              <a:rPr lang="en-US" sz="1430" dirty="0">
                <a:solidFill>
                  <a:srgbClr val="FFD700"/>
                </a:solidFill>
                <a:latin typeface="Trebuchet MS"/>
              </a:rPr>
              <a:t>large-scale datasets</a:t>
            </a:r>
            <a:r>
              <a:rPr lang="en-US" sz="1430" dirty="0">
                <a:solidFill>
                  <a:prstClr val="white"/>
                </a:solidFill>
                <a:latin typeface="Trebuchet MS"/>
              </a:rPr>
              <a:t>, an opportunity for intensive exploration of </a:t>
            </a:r>
            <a:r>
              <a:rPr lang="en-US" sz="1430" dirty="0">
                <a:solidFill>
                  <a:srgbClr val="FFD700"/>
                </a:solidFill>
                <a:latin typeface="Trebuchet MS"/>
              </a:rPr>
              <a:t>channelized deposit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F476090-B94B-4824-B3E2-2D5367C3039D}"/>
              </a:ext>
            </a:extLst>
          </p:cNvPr>
          <p:cNvGrpSpPr/>
          <p:nvPr/>
        </p:nvGrpSpPr>
        <p:grpSpPr>
          <a:xfrm>
            <a:off x="1617785" y="705873"/>
            <a:ext cx="9079806" cy="3522359"/>
            <a:chOff x="2809907" y="1034712"/>
            <a:chExt cx="7729306" cy="3459468"/>
          </a:xfrm>
        </p:grpSpPr>
        <p:pic>
          <p:nvPicPr>
            <p:cNvPr id="109" name="Picture 108">
              <a:extLst>
                <a:ext uri="{FF2B5EF4-FFF2-40B4-BE49-F238E27FC236}">
                  <a16:creationId xmlns:a16="http://schemas.microsoft.com/office/drawing/2014/main" id="{002A05EC-7872-F50C-04F8-859EA48A0D6E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50"/>
            <a:srcRect l="413" r="413"/>
            <a:stretch/>
          </p:blipFill>
          <p:spPr>
            <a:xfrm>
              <a:off x="7723999" y="1034712"/>
              <a:ext cx="2815214" cy="345946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011886E-C5AB-4449-7536-67706963A720}"/>
                </a:ext>
              </a:extLst>
            </p:cNvPr>
            <p:cNvGrpSpPr/>
            <p:nvPr/>
          </p:nvGrpSpPr>
          <p:grpSpPr>
            <a:xfrm>
              <a:off x="4708589" y="2978010"/>
              <a:ext cx="796434" cy="595820"/>
              <a:chOff x="4891630" y="2839739"/>
              <a:chExt cx="836071" cy="626278"/>
            </a:xfrm>
          </p:grpSpPr>
          <p:sp>
            <p:nvSpPr>
              <p:cNvPr id="9" name="Right Triangle 8">
                <a:extLst>
                  <a:ext uri="{FF2B5EF4-FFF2-40B4-BE49-F238E27FC236}">
                    <a16:creationId xmlns:a16="http://schemas.microsoft.com/office/drawing/2014/main" id="{8F1BDB68-8F5C-32E6-DA7F-E5CA8F31456D}"/>
                  </a:ext>
                </a:extLst>
              </p:cNvPr>
              <p:cNvSpPr/>
              <p:nvPr/>
            </p:nvSpPr>
            <p:spPr>
              <a:xfrm rot="16200000">
                <a:off x="4868177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0" name="Right Triangle 9">
                <a:extLst>
                  <a:ext uri="{FF2B5EF4-FFF2-40B4-BE49-F238E27FC236}">
                    <a16:creationId xmlns:a16="http://schemas.microsoft.com/office/drawing/2014/main" id="{00DF9139-84FE-9907-ED46-E77FCC1F680F}"/>
                  </a:ext>
                </a:extLst>
              </p:cNvPr>
              <p:cNvSpPr/>
              <p:nvPr/>
            </p:nvSpPr>
            <p:spPr>
              <a:xfrm rot="5400000" flipH="1">
                <a:off x="5607953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1" name="Rectangle: Top Corners Rounded 10">
                <a:extLst>
                  <a:ext uri="{FF2B5EF4-FFF2-40B4-BE49-F238E27FC236}">
                    <a16:creationId xmlns:a16="http://schemas.microsoft.com/office/drawing/2014/main" id="{DE59C999-B6F0-0F27-5D28-7E40B4EC0089}"/>
                  </a:ext>
                </a:extLst>
              </p:cNvPr>
              <p:cNvSpPr/>
              <p:nvPr/>
            </p:nvSpPr>
            <p:spPr>
              <a:xfrm flipV="1">
                <a:off x="4891630" y="3007842"/>
                <a:ext cx="836070" cy="458175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2" name="Rectangle: Top Corners Rounded 11">
                <a:extLst>
                  <a:ext uri="{FF2B5EF4-FFF2-40B4-BE49-F238E27FC236}">
                    <a16:creationId xmlns:a16="http://schemas.microsoft.com/office/drawing/2014/main" id="{3E4900B5-4886-80BE-3EBF-FB1786767E20}"/>
                  </a:ext>
                </a:extLst>
              </p:cNvPr>
              <p:cNvSpPr/>
              <p:nvPr/>
            </p:nvSpPr>
            <p:spPr>
              <a:xfrm flipV="1">
                <a:off x="4891630" y="2972282"/>
                <a:ext cx="836070" cy="458175"/>
              </a:xfrm>
              <a:prstGeom prst="round2SameRect">
                <a:avLst/>
              </a:prstGeom>
              <a:solidFill>
                <a:schemeClr val="bg1"/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7A8DE88C-35B3-42B2-8327-05D4EB8AFDE2}"/>
                  </a:ext>
                </a:extLst>
              </p:cNvPr>
              <p:cNvSpPr txBox="1"/>
              <p:nvPr/>
            </p:nvSpPr>
            <p:spPr>
              <a:xfrm>
                <a:off x="4897970" y="3011042"/>
                <a:ext cx="823390" cy="3390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871057">
                  <a:defRPr/>
                </a:pPr>
                <a:r>
                  <a:rPr lang="en-IN" sz="1048" b="1">
                    <a:solidFill>
                      <a:srgbClr val="00B050"/>
                    </a:solidFill>
                    <a:latin typeface="Calibri" panose="020F0502020204030204" pitchFamily="34" charset="0"/>
                  </a:rPr>
                  <a:t>Discovered</a:t>
                </a:r>
                <a:r>
                  <a:rPr lang="en-IN" sz="1048" b="1">
                    <a:solidFill>
                      <a:srgbClr val="000000"/>
                    </a:solidFill>
                    <a:latin typeface="Calibri" panose="020F0502020204030204" pitchFamily="34" charset="0"/>
                  </a:rPr>
                  <a:t>|</a:t>
                </a:r>
              </a:p>
              <a:p>
                <a:pPr algn="ctr" defTabSz="871057">
                  <a:defRPr/>
                </a:pPr>
                <a:r>
                  <a:rPr lang="en-IN" sz="1048" b="1">
                    <a:solidFill>
                      <a:srgbClr val="5A5A5A"/>
                    </a:solidFill>
                    <a:latin typeface="Calibri" panose="020F0502020204030204" pitchFamily="34" charset="0"/>
                  </a:rPr>
                  <a:t>Undiscovered</a:t>
                </a:r>
                <a:endParaRPr lang="en-IN" sz="1048" b="1">
                  <a:solidFill>
                    <a:srgbClr val="5A5A5A"/>
                  </a:solidFill>
                  <a:latin typeface="Trebuchet MS"/>
                </a:endParaRP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848249C-7F29-1568-CC58-7B68B3416F05}"/>
                </a:ext>
              </a:extLst>
            </p:cNvPr>
            <p:cNvGrpSpPr/>
            <p:nvPr/>
          </p:nvGrpSpPr>
          <p:grpSpPr>
            <a:xfrm>
              <a:off x="3816560" y="2994288"/>
              <a:ext cx="796434" cy="595820"/>
              <a:chOff x="3859483" y="2839739"/>
              <a:chExt cx="836071" cy="626278"/>
            </a:xfrm>
          </p:grpSpPr>
          <p:sp>
            <p:nvSpPr>
              <p:cNvPr id="17" name="Right Triangle 16">
                <a:extLst>
                  <a:ext uri="{FF2B5EF4-FFF2-40B4-BE49-F238E27FC236}">
                    <a16:creationId xmlns:a16="http://schemas.microsoft.com/office/drawing/2014/main" id="{8CDA238D-0572-70A4-A6DC-00A55B9E2316}"/>
                  </a:ext>
                </a:extLst>
              </p:cNvPr>
              <p:cNvSpPr/>
              <p:nvPr/>
            </p:nvSpPr>
            <p:spPr>
              <a:xfrm rot="16200000">
                <a:off x="3836030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8" name="Right Triangle 17">
                <a:extLst>
                  <a:ext uri="{FF2B5EF4-FFF2-40B4-BE49-F238E27FC236}">
                    <a16:creationId xmlns:a16="http://schemas.microsoft.com/office/drawing/2014/main" id="{50268EB7-E7AC-88A5-C9A2-7B625A052B23}"/>
                  </a:ext>
                </a:extLst>
              </p:cNvPr>
              <p:cNvSpPr/>
              <p:nvPr/>
            </p:nvSpPr>
            <p:spPr>
              <a:xfrm rot="5400000" flipH="1">
                <a:off x="4575806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9" name="Rectangle: Top Corners Rounded 18">
                <a:extLst>
                  <a:ext uri="{FF2B5EF4-FFF2-40B4-BE49-F238E27FC236}">
                    <a16:creationId xmlns:a16="http://schemas.microsoft.com/office/drawing/2014/main" id="{D2E68893-1A1B-5112-24D9-0B286CC1B056}"/>
                  </a:ext>
                </a:extLst>
              </p:cNvPr>
              <p:cNvSpPr/>
              <p:nvPr/>
            </p:nvSpPr>
            <p:spPr>
              <a:xfrm flipV="1">
                <a:off x="3859483" y="3007842"/>
                <a:ext cx="836070" cy="458175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21" name="Rectangle: Top Corners Rounded 20">
                <a:extLst>
                  <a:ext uri="{FF2B5EF4-FFF2-40B4-BE49-F238E27FC236}">
                    <a16:creationId xmlns:a16="http://schemas.microsoft.com/office/drawing/2014/main" id="{48844E12-0031-B895-A9FE-14A63F0387E1}"/>
                  </a:ext>
                </a:extLst>
              </p:cNvPr>
              <p:cNvSpPr/>
              <p:nvPr/>
            </p:nvSpPr>
            <p:spPr>
              <a:xfrm flipV="1">
                <a:off x="3859483" y="2972282"/>
                <a:ext cx="836070" cy="458175"/>
              </a:xfrm>
              <a:prstGeom prst="round2SameRect">
                <a:avLst/>
              </a:prstGeom>
              <a:solidFill>
                <a:schemeClr val="bg1"/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BE3EE49-5EC9-6D5F-20EB-BC8489A5BB58}"/>
                  </a:ext>
                </a:extLst>
              </p:cNvPr>
              <p:cNvSpPr txBox="1"/>
              <p:nvPr/>
            </p:nvSpPr>
            <p:spPr>
              <a:xfrm>
                <a:off x="3865823" y="3011042"/>
                <a:ext cx="823390" cy="3390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871057">
                  <a:defRPr/>
                </a:pPr>
                <a:r>
                  <a:rPr lang="en-US" sz="1048" b="1">
                    <a:solidFill>
                      <a:srgbClr val="FFD700"/>
                    </a:solidFill>
                    <a:latin typeface="Calibri" panose="020F0502020204030204" pitchFamily="34" charset="0"/>
                  </a:rPr>
                  <a:t>Deep</a:t>
                </a:r>
                <a:r>
                  <a:rPr lang="en-IN" sz="1048" b="1">
                    <a:solidFill>
                      <a:srgbClr val="FF9933"/>
                    </a:solidFill>
                    <a:latin typeface="Calibri" panose="020F0502020204030204" pitchFamily="34" charset="0"/>
                  </a:rPr>
                  <a:t> </a:t>
                </a:r>
                <a:r>
                  <a:rPr lang="en-IN" sz="1048" b="1">
                    <a:solidFill>
                      <a:srgbClr val="000000"/>
                    </a:solidFill>
                    <a:latin typeface="Calibri" panose="020F0502020204030204" pitchFamily="34" charset="0"/>
                  </a:rPr>
                  <a:t>| </a:t>
                </a:r>
                <a:r>
                  <a:rPr lang="en-IN" sz="1048" b="1">
                    <a:solidFill>
                      <a:srgbClr val="B6C2FE"/>
                    </a:solidFill>
                    <a:latin typeface="Calibri" panose="020F0502020204030204" pitchFamily="34" charset="0"/>
                  </a:rPr>
                  <a:t>Shallow</a:t>
                </a:r>
                <a:endParaRPr lang="en-IN" sz="1048" b="1">
                  <a:solidFill>
                    <a:srgbClr val="B6C2FE"/>
                  </a:solidFill>
                  <a:latin typeface="Trebuchet MS"/>
                </a:endParaRP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98CEAE38-AFB1-B02C-C850-43272168D725}"/>
                </a:ext>
              </a:extLst>
            </p:cNvPr>
            <p:cNvGrpSpPr/>
            <p:nvPr/>
          </p:nvGrpSpPr>
          <p:grpSpPr>
            <a:xfrm>
              <a:off x="2925008" y="2993888"/>
              <a:ext cx="796434" cy="595820"/>
              <a:chOff x="2820464" y="2839739"/>
              <a:chExt cx="836071" cy="626278"/>
            </a:xfrm>
          </p:grpSpPr>
          <p:sp>
            <p:nvSpPr>
              <p:cNvPr id="26" name="Right Triangle 25">
                <a:extLst>
                  <a:ext uri="{FF2B5EF4-FFF2-40B4-BE49-F238E27FC236}">
                    <a16:creationId xmlns:a16="http://schemas.microsoft.com/office/drawing/2014/main" id="{F3D00DC9-0C8C-C286-2CA7-8AE57C7C014F}"/>
                  </a:ext>
                </a:extLst>
              </p:cNvPr>
              <p:cNvSpPr/>
              <p:nvPr/>
            </p:nvSpPr>
            <p:spPr>
              <a:xfrm rot="16200000">
                <a:off x="2797011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28" name="Right Triangle 27">
                <a:extLst>
                  <a:ext uri="{FF2B5EF4-FFF2-40B4-BE49-F238E27FC236}">
                    <a16:creationId xmlns:a16="http://schemas.microsoft.com/office/drawing/2014/main" id="{A90CFF1C-A101-69F1-3191-2668C66C289C}"/>
                  </a:ext>
                </a:extLst>
              </p:cNvPr>
              <p:cNvSpPr/>
              <p:nvPr/>
            </p:nvSpPr>
            <p:spPr>
              <a:xfrm rot="5400000" flipH="1">
                <a:off x="3536787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33" name="Rectangle: Top Corners Rounded 32">
                <a:extLst>
                  <a:ext uri="{FF2B5EF4-FFF2-40B4-BE49-F238E27FC236}">
                    <a16:creationId xmlns:a16="http://schemas.microsoft.com/office/drawing/2014/main" id="{E4AFA6FE-C035-492B-DFBF-AE546F94000E}"/>
                  </a:ext>
                </a:extLst>
              </p:cNvPr>
              <p:cNvSpPr/>
              <p:nvPr/>
            </p:nvSpPr>
            <p:spPr>
              <a:xfrm flipV="1">
                <a:off x="2820464" y="3007842"/>
                <a:ext cx="836070" cy="458175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34" name="Rectangle: Top Corners Rounded 33">
                <a:extLst>
                  <a:ext uri="{FF2B5EF4-FFF2-40B4-BE49-F238E27FC236}">
                    <a16:creationId xmlns:a16="http://schemas.microsoft.com/office/drawing/2014/main" id="{465394FA-1C43-38C4-E6C4-9BBFD9DA329E}"/>
                  </a:ext>
                </a:extLst>
              </p:cNvPr>
              <p:cNvSpPr/>
              <p:nvPr/>
            </p:nvSpPr>
            <p:spPr>
              <a:xfrm flipV="1">
                <a:off x="2820464" y="2972282"/>
                <a:ext cx="836070" cy="458175"/>
              </a:xfrm>
              <a:prstGeom prst="round2SameRect">
                <a:avLst/>
              </a:prstGeom>
              <a:solidFill>
                <a:schemeClr val="bg1"/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DFBB17D-AF8A-C407-3888-A5C3EB6B1E76}"/>
                  </a:ext>
                </a:extLst>
              </p:cNvPr>
              <p:cNvSpPr txBox="1"/>
              <p:nvPr/>
            </p:nvSpPr>
            <p:spPr>
              <a:xfrm>
                <a:off x="2826804" y="3011042"/>
                <a:ext cx="823390" cy="3390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871057">
                  <a:defRPr/>
                </a:pPr>
                <a:r>
                  <a:rPr lang="en-US" sz="1048" b="1" err="1">
                    <a:solidFill>
                      <a:srgbClr val="FF9933"/>
                    </a:solidFill>
                    <a:latin typeface="Calibri" panose="020F0502020204030204" pitchFamily="34" charset="0"/>
                  </a:rPr>
                  <a:t>Onland</a:t>
                </a:r>
                <a:r>
                  <a:rPr lang="en-IN" sz="1048" b="1">
                    <a:solidFill>
                      <a:srgbClr val="FF9933"/>
                    </a:solidFill>
                    <a:latin typeface="Calibri" panose="020F0502020204030204" pitchFamily="34" charset="0"/>
                  </a:rPr>
                  <a:t> </a:t>
                </a:r>
                <a:r>
                  <a:rPr lang="en-IN" sz="1048" b="1">
                    <a:solidFill>
                      <a:srgbClr val="000000"/>
                    </a:solidFill>
                    <a:latin typeface="Calibri" panose="020F0502020204030204" pitchFamily="34" charset="0"/>
                  </a:rPr>
                  <a:t>| </a:t>
                </a:r>
                <a:br>
                  <a:rPr lang="en-IN" sz="1048" b="1">
                    <a:solidFill>
                      <a:srgbClr val="000000"/>
                    </a:solidFill>
                    <a:latin typeface="Calibri" panose="020F0502020204030204" pitchFamily="34" charset="0"/>
                  </a:rPr>
                </a:br>
                <a:r>
                  <a:rPr lang="en-IN" sz="1048" b="1">
                    <a:solidFill>
                      <a:srgbClr val="264796"/>
                    </a:solidFill>
                    <a:latin typeface="Calibri" panose="020F0502020204030204" pitchFamily="34" charset="0"/>
                  </a:rPr>
                  <a:t>Offshore</a:t>
                </a:r>
                <a:endParaRPr lang="en-IN" sz="1048" b="1">
                  <a:solidFill>
                    <a:srgbClr val="264796"/>
                  </a:solidFill>
                  <a:latin typeface="Trebuchet MS"/>
                </a:endParaRPr>
              </a:p>
            </p:txBody>
          </p:sp>
        </p:grpSp>
        <p:graphicFrame>
          <p:nvGraphicFramePr>
            <p:cNvPr id="103" name="Chart 102">
              <a:extLst>
                <a:ext uri="{FF2B5EF4-FFF2-40B4-BE49-F238E27FC236}">
                  <a16:creationId xmlns:a16="http://schemas.microsoft.com/office/drawing/2014/main" id="{E409DEC3-ED4D-4F22-8E3C-5063BB417C77}"/>
                </a:ext>
              </a:extLst>
            </p:cNvPr>
            <p:cNvGraphicFramePr/>
            <p:nvPr>
              <p:custDataLst>
                <p:tags r:id="rId45"/>
              </p:custDataLst>
              <p:extLst>
                <p:ext uri="{D42A27DB-BD31-4B8C-83A1-F6EECF244321}">
                  <p14:modId xmlns:p14="http://schemas.microsoft.com/office/powerpoint/2010/main" val="223266911"/>
                </p:ext>
              </p:extLst>
            </p:nvPr>
          </p:nvGraphicFramePr>
          <p:xfrm>
            <a:off x="2809907" y="1654811"/>
            <a:ext cx="2835446" cy="153794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1"/>
            </a:graphicData>
          </a:graphic>
        </p:graphicFrame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299ED08-22B1-AB35-7026-E04C1FC349BF}"/>
                </a:ext>
              </a:extLst>
            </p:cNvPr>
            <p:cNvSpPr/>
            <p:nvPr/>
          </p:nvSpPr>
          <p:spPr>
            <a:xfrm rot="11850677">
              <a:off x="5980730" y="2209447"/>
              <a:ext cx="3339759" cy="1625506"/>
            </a:xfrm>
            <a:custGeom>
              <a:avLst/>
              <a:gdLst>
                <a:gd name="connsiteX0" fmla="*/ 3248298 w 3248298"/>
                <a:gd name="connsiteY0" fmla="*/ 0 h 3066413"/>
                <a:gd name="connsiteX1" fmla="*/ 3248298 w 3248298"/>
                <a:gd name="connsiteY1" fmla="*/ 3066413 h 3066413"/>
                <a:gd name="connsiteX2" fmla="*/ 49081 w 3248298"/>
                <a:gd name="connsiteY2" fmla="*/ 1875414 h 3066413"/>
                <a:gd name="connsiteX3" fmla="*/ 49652 w 3248298"/>
                <a:gd name="connsiteY3" fmla="*/ 1875356 h 3066413"/>
                <a:gd name="connsiteX4" fmla="*/ 316559 w 3248298"/>
                <a:gd name="connsiteY4" fmla="*/ 1547872 h 3066413"/>
                <a:gd name="connsiteX5" fmla="*/ 49652 w 3248298"/>
                <a:gd name="connsiteY5" fmla="*/ 1220388 h 3066413"/>
                <a:gd name="connsiteX6" fmla="*/ 0 w 3248298"/>
                <a:gd name="connsiteY6" fmla="*/ 1215383 h 3066413"/>
                <a:gd name="connsiteX7" fmla="*/ 0 w 3248298"/>
                <a:gd name="connsiteY7" fmla="*/ 1209271 h 3066413"/>
                <a:gd name="connsiteX8" fmla="*/ 3248298 w 3248298"/>
                <a:gd name="connsiteY8" fmla="*/ 0 h 3066413"/>
                <a:gd name="connsiteX0" fmla="*/ 2968898 w 3248298"/>
                <a:gd name="connsiteY0" fmla="*/ 0 h 3256913"/>
                <a:gd name="connsiteX1" fmla="*/ 3248298 w 3248298"/>
                <a:gd name="connsiteY1" fmla="*/ 3256913 h 3256913"/>
                <a:gd name="connsiteX2" fmla="*/ 49081 w 3248298"/>
                <a:gd name="connsiteY2" fmla="*/ 2065914 h 3256913"/>
                <a:gd name="connsiteX3" fmla="*/ 49652 w 3248298"/>
                <a:gd name="connsiteY3" fmla="*/ 2065856 h 3256913"/>
                <a:gd name="connsiteX4" fmla="*/ 316559 w 3248298"/>
                <a:gd name="connsiteY4" fmla="*/ 1738372 h 3256913"/>
                <a:gd name="connsiteX5" fmla="*/ 49652 w 3248298"/>
                <a:gd name="connsiteY5" fmla="*/ 1410888 h 3256913"/>
                <a:gd name="connsiteX6" fmla="*/ 0 w 3248298"/>
                <a:gd name="connsiteY6" fmla="*/ 1405883 h 3256913"/>
                <a:gd name="connsiteX7" fmla="*/ 0 w 3248298"/>
                <a:gd name="connsiteY7" fmla="*/ 1399771 h 3256913"/>
                <a:gd name="connsiteX8" fmla="*/ 2968898 w 3248298"/>
                <a:gd name="connsiteY8" fmla="*/ 0 h 3256913"/>
                <a:gd name="connsiteX0" fmla="*/ 2968898 w 2968898"/>
                <a:gd name="connsiteY0" fmla="*/ 0 h 3066413"/>
                <a:gd name="connsiteX1" fmla="*/ 2879998 w 2968898"/>
                <a:gd name="connsiteY1" fmla="*/ 3066413 h 3066413"/>
                <a:gd name="connsiteX2" fmla="*/ 49081 w 2968898"/>
                <a:gd name="connsiteY2" fmla="*/ 2065914 h 3066413"/>
                <a:gd name="connsiteX3" fmla="*/ 49652 w 2968898"/>
                <a:gd name="connsiteY3" fmla="*/ 2065856 h 3066413"/>
                <a:gd name="connsiteX4" fmla="*/ 316559 w 2968898"/>
                <a:gd name="connsiteY4" fmla="*/ 1738372 h 3066413"/>
                <a:gd name="connsiteX5" fmla="*/ 49652 w 2968898"/>
                <a:gd name="connsiteY5" fmla="*/ 1410888 h 3066413"/>
                <a:gd name="connsiteX6" fmla="*/ 0 w 2968898"/>
                <a:gd name="connsiteY6" fmla="*/ 1405883 h 3066413"/>
                <a:gd name="connsiteX7" fmla="*/ 0 w 2968898"/>
                <a:gd name="connsiteY7" fmla="*/ 1399771 h 3066413"/>
                <a:gd name="connsiteX8" fmla="*/ 2968898 w 2968898"/>
                <a:gd name="connsiteY8" fmla="*/ 0 h 3066413"/>
                <a:gd name="connsiteX0" fmla="*/ 2968898 w 3032398"/>
                <a:gd name="connsiteY0" fmla="*/ 0 h 3079113"/>
                <a:gd name="connsiteX1" fmla="*/ 3032398 w 3032398"/>
                <a:gd name="connsiteY1" fmla="*/ 3079113 h 3079113"/>
                <a:gd name="connsiteX2" fmla="*/ 49081 w 3032398"/>
                <a:gd name="connsiteY2" fmla="*/ 2065914 h 3079113"/>
                <a:gd name="connsiteX3" fmla="*/ 49652 w 3032398"/>
                <a:gd name="connsiteY3" fmla="*/ 2065856 h 3079113"/>
                <a:gd name="connsiteX4" fmla="*/ 316559 w 3032398"/>
                <a:gd name="connsiteY4" fmla="*/ 1738372 h 3079113"/>
                <a:gd name="connsiteX5" fmla="*/ 49652 w 3032398"/>
                <a:gd name="connsiteY5" fmla="*/ 1410888 h 3079113"/>
                <a:gd name="connsiteX6" fmla="*/ 0 w 3032398"/>
                <a:gd name="connsiteY6" fmla="*/ 1405883 h 3079113"/>
                <a:gd name="connsiteX7" fmla="*/ 0 w 3032398"/>
                <a:gd name="connsiteY7" fmla="*/ 1399771 h 3079113"/>
                <a:gd name="connsiteX8" fmla="*/ 2968898 w 3032398"/>
                <a:gd name="connsiteY8" fmla="*/ 0 h 3079113"/>
                <a:gd name="connsiteX0" fmla="*/ 2930798 w 3032398"/>
                <a:gd name="connsiteY0" fmla="*/ 0 h 3091813"/>
                <a:gd name="connsiteX1" fmla="*/ 3032398 w 3032398"/>
                <a:gd name="connsiteY1" fmla="*/ 3091813 h 3091813"/>
                <a:gd name="connsiteX2" fmla="*/ 49081 w 3032398"/>
                <a:gd name="connsiteY2" fmla="*/ 2078614 h 3091813"/>
                <a:gd name="connsiteX3" fmla="*/ 49652 w 3032398"/>
                <a:gd name="connsiteY3" fmla="*/ 2078556 h 3091813"/>
                <a:gd name="connsiteX4" fmla="*/ 316559 w 3032398"/>
                <a:gd name="connsiteY4" fmla="*/ 1751072 h 3091813"/>
                <a:gd name="connsiteX5" fmla="*/ 49652 w 3032398"/>
                <a:gd name="connsiteY5" fmla="*/ 1423588 h 3091813"/>
                <a:gd name="connsiteX6" fmla="*/ 0 w 3032398"/>
                <a:gd name="connsiteY6" fmla="*/ 1418583 h 3091813"/>
                <a:gd name="connsiteX7" fmla="*/ 0 w 3032398"/>
                <a:gd name="connsiteY7" fmla="*/ 1412471 h 3091813"/>
                <a:gd name="connsiteX8" fmla="*/ 2930798 w 3032398"/>
                <a:gd name="connsiteY8" fmla="*/ 0 h 3091813"/>
                <a:gd name="connsiteX0" fmla="*/ 2930798 w 3032398"/>
                <a:gd name="connsiteY0" fmla="*/ 0 h 3452842"/>
                <a:gd name="connsiteX1" fmla="*/ 3032398 w 3032398"/>
                <a:gd name="connsiteY1" fmla="*/ 3091813 h 3452842"/>
                <a:gd name="connsiteX2" fmla="*/ 49081 w 3032398"/>
                <a:gd name="connsiteY2" fmla="*/ 2078614 h 3452842"/>
                <a:gd name="connsiteX3" fmla="*/ 627398 w 3032398"/>
                <a:gd name="connsiteY3" fmla="*/ 3452842 h 3452842"/>
                <a:gd name="connsiteX4" fmla="*/ 316559 w 3032398"/>
                <a:gd name="connsiteY4" fmla="*/ 1751072 h 3452842"/>
                <a:gd name="connsiteX5" fmla="*/ 49652 w 3032398"/>
                <a:gd name="connsiteY5" fmla="*/ 1423588 h 3452842"/>
                <a:gd name="connsiteX6" fmla="*/ 0 w 3032398"/>
                <a:gd name="connsiteY6" fmla="*/ 1418583 h 3452842"/>
                <a:gd name="connsiteX7" fmla="*/ 0 w 3032398"/>
                <a:gd name="connsiteY7" fmla="*/ 1412471 h 3452842"/>
                <a:gd name="connsiteX8" fmla="*/ 2930798 w 3032398"/>
                <a:gd name="connsiteY8" fmla="*/ 0 h 3452842"/>
                <a:gd name="connsiteX0" fmla="*/ 2930798 w 3032398"/>
                <a:gd name="connsiteY0" fmla="*/ 0 h 3452842"/>
                <a:gd name="connsiteX1" fmla="*/ 3032398 w 3032398"/>
                <a:gd name="connsiteY1" fmla="*/ 3091813 h 3452842"/>
                <a:gd name="connsiteX2" fmla="*/ 627398 w 3032398"/>
                <a:gd name="connsiteY2" fmla="*/ 3452842 h 3452842"/>
                <a:gd name="connsiteX3" fmla="*/ 316559 w 3032398"/>
                <a:gd name="connsiteY3" fmla="*/ 1751072 h 3452842"/>
                <a:gd name="connsiteX4" fmla="*/ 49652 w 3032398"/>
                <a:gd name="connsiteY4" fmla="*/ 1423588 h 3452842"/>
                <a:gd name="connsiteX5" fmla="*/ 0 w 3032398"/>
                <a:gd name="connsiteY5" fmla="*/ 1418583 h 3452842"/>
                <a:gd name="connsiteX6" fmla="*/ 0 w 3032398"/>
                <a:gd name="connsiteY6" fmla="*/ 1412471 h 3452842"/>
                <a:gd name="connsiteX7" fmla="*/ 2930798 w 3032398"/>
                <a:gd name="connsiteY7" fmla="*/ 0 h 3452842"/>
                <a:gd name="connsiteX0" fmla="*/ 2930798 w 3032398"/>
                <a:gd name="connsiteY0" fmla="*/ 0 h 3452842"/>
                <a:gd name="connsiteX1" fmla="*/ 3032398 w 3032398"/>
                <a:gd name="connsiteY1" fmla="*/ 3091813 h 3452842"/>
                <a:gd name="connsiteX2" fmla="*/ 627398 w 3032398"/>
                <a:gd name="connsiteY2" fmla="*/ 3452842 h 3452842"/>
                <a:gd name="connsiteX3" fmla="*/ 316559 w 3032398"/>
                <a:gd name="connsiteY3" fmla="*/ 1751072 h 3452842"/>
                <a:gd name="connsiteX4" fmla="*/ 49652 w 3032398"/>
                <a:gd name="connsiteY4" fmla="*/ 1423588 h 3452842"/>
                <a:gd name="connsiteX5" fmla="*/ 0 w 3032398"/>
                <a:gd name="connsiteY5" fmla="*/ 1418583 h 3452842"/>
                <a:gd name="connsiteX6" fmla="*/ 0 w 3032398"/>
                <a:gd name="connsiteY6" fmla="*/ 1412471 h 3452842"/>
                <a:gd name="connsiteX7" fmla="*/ 2930798 w 3032398"/>
                <a:gd name="connsiteY7" fmla="*/ 0 h 3452842"/>
                <a:gd name="connsiteX0" fmla="*/ 2930798 w 3032398"/>
                <a:gd name="connsiteY0" fmla="*/ 0 h 3452842"/>
                <a:gd name="connsiteX1" fmla="*/ 3032398 w 3032398"/>
                <a:gd name="connsiteY1" fmla="*/ 3091813 h 3452842"/>
                <a:gd name="connsiteX2" fmla="*/ 627398 w 3032398"/>
                <a:gd name="connsiteY2" fmla="*/ 3452842 h 3452842"/>
                <a:gd name="connsiteX3" fmla="*/ 49652 w 3032398"/>
                <a:gd name="connsiteY3" fmla="*/ 1423588 h 3452842"/>
                <a:gd name="connsiteX4" fmla="*/ 0 w 3032398"/>
                <a:gd name="connsiteY4" fmla="*/ 1418583 h 3452842"/>
                <a:gd name="connsiteX5" fmla="*/ 0 w 3032398"/>
                <a:gd name="connsiteY5" fmla="*/ 1412471 h 3452842"/>
                <a:gd name="connsiteX6" fmla="*/ 2930798 w 3032398"/>
                <a:gd name="connsiteY6" fmla="*/ 0 h 3452842"/>
                <a:gd name="connsiteX0" fmla="*/ 2930798 w 3032398"/>
                <a:gd name="connsiteY0" fmla="*/ 0 h 3452842"/>
                <a:gd name="connsiteX1" fmla="*/ 3032398 w 3032398"/>
                <a:gd name="connsiteY1" fmla="*/ 3091813 h 3452842"/>
                <a:gd name="connsiteX2" fmla="*/ 627398 w 3032398"/>
                <a:gd name="connsiteY2" fmla="*/ 3452842 h 3452842"/>
                <a:gd name="connsiteX3" fmla="*/ 49652 w 3032398"/>
                <a:gd name="connsiteY3" fmla="*/ 1423588 h 3452842"/>
                <a:gd name="connsiteX4" fmla="*/ 0 w 3032398"/>
                <a:gd name="connsiteY4" fmla="*/ 1418583 h 3452842"/>
                <a:gd name="connsiteX5" fmla="*/ 288873 w 3032398"/>
                <a:gd name="connsiteY5" fmla="*/ 2205329 h 3452842"/>
                <a:gd name="connsiteX6" fmla="*/ 2930798 w 3032398"/>
                <a:gd name="connsiteY6" fmla="*/ 0 h 3452842"/>
                <a:gd name="connsiteX0" fmla="*/ 2881145 w 2982745"/>
                <a:gd name="connsiteY0" fmla="*/ 0 h 3452842"/>
                <a:gd name="connsiteX1" fmla="*/ 2982745 w 2982745"/>
                <a:gd name="connsiteY1" fmla="*/ 3091813 h 3452842"/>
                <a:gd name="connsiteX2" fmla="*/ 577745 w 2982745"/>
                <a:gd name="connsiteY2" fmla="*/ 3452842 h 3452842"/>
                <a:gd name="connsiteX3" fmla="*/ -1 w 2982745"/>
                <a:gd name="connsiteY3" fmla="*/ 1423588 h 3452842"/>
                <a:gd name="connsiteX4" fmla="*/ 239220 w 2982745"/>
                <a:gd name="connsiteY4" fmla="*/ 2205329 h 3452842"/>
                <a:gd name="connsiteX5" fmla="*/ 2881145 w 2982745"/>
                <a:gd name="connsiteY5" fmla="*/ 0 h 3452842"/>
                <a:gd name="connsiteX0" fmla="*/ 2826401 w 2928001"/>
                <a:gd name="connsiteY0" fmla="*/ 0 h 3452842"/>
                <a:gd name="connsiteX1" fmla="*/ 2928001 w 2928001"/>
                <a:gd name="connsiteY1" fmla="*/ 3091813 h 3452842"/>
                <a:gd name="connsiteX2" fmla="*/ 523001 w 2928001"/>
                <a:gd name="connsiteY2" fmla="*/ 3452842 h 3452842"/>
                <a:gd name="connsiteX3" fmla="*/ 184476 w 2928001"/>
                <a:gd name="connsiteY3" fmla="*/ 2205329 h 3452842"/>
                <a:gd name="connsiteX4" fmla="*/ 2826401 w 2928001"/>
                <a:gd name="connsiteY4" fmla="*/ 0 h 3452842"/>
                <a:gd name="connsiteX0" fmla="*/ 2803852 w 2905452"/>
                <a:gd name="connsiteY0" fmla="*/ 0 h 3452842"/>
                <a:gd name="connsiteX1" fmla="*/ 2905452 w 2905452"/>
                <a:gd name="connsiteY1" fmla="*/ 3091813 h 3452842"/>
                <a:gd name="connsiteX2" fmla="*/ 500452 w 2905452"/>
                <a:gd name="connsiteY2" fmla="*/ 3452842 h 3452842"/>
                <a:gd name="connsiteX3" fmla="*/ 192877 w 2905452"/>
                <a:gd name="connsiteY3" fmla="*/ 2073186 h 3452842"/>
                <a:gd name="connsiteX4" fmla="*/ 2803852 w 2905452"/>
                <a:gd name="connsiteY4" fmla="*/ 0 h 3452842"/>
                <a:gd name="connsiteX0" fmla="*/ 2610975 w 2712575"/>
                <a:gd name="connsiteY0" fmla="*/ 0 h 3452842"/>
                <a:gd name="connsiteX1" fmla="*/ 2712575 w 2712575"/>
                <a:gd name="connsiteY1" fmla="*/ 3091813 h 3452842"/>
                <a:gd name="connsiteX2" fmla="*/ 307575 w 2712575"/>
                <a:gd name="connsiteY2" fmla="*/ 3452842 h 3452842"/>
                <a:gd name="connsiteX3" fmla="*/ 0 w 2712575"/>
                <a:gd name="connsiteY3" fmla="*/ 2073186 h 3452842"/>
                <a:gd name="connsiteX4" fmla="*/ 2610975 w 2712575"/>
                <a:gd name="connsiteY4" fmla="*/ 0 h 3452842"/>
                <a:gd name="connsiteX0" fmla="*/ 2610975 w 2712575"/>
                <a:gd name="connsiteY0" fmla="*/ 0 h 3452842"/>
                <a:gd name="connsiteX1" fmla="*/ 2712575 w 2712575"/>
                <a:gd name="connsiteY1" fmla="*/ 3091813 h 3452842"/>
                <a:gd name="connsiteX2" fmla="*/ 307575 w 2712575"/>
                <a:gd name="connsiteY2" fmla="*/ 3452842 h 3452842"/>
                <a:gd name="connsiteX3" fmla="*/ 0 w 2712575"/>
                <a:gd name="connsiteY3" fmla="*/ 2073186 h 3452842"/>
                <a:gd name="connsiteX4" fmla="*/ 2610975 w 2712575"/>
                <a:gd name="connsiteY4" fmla="*/ 0 h 3452842"/>
                <a:gd name="connsiteX0" fmla="*/ 2827630 w 2827630"/>
                <a:gd name="connsiteY0" fmla="*/ 0 h 5514273"/>
                <a:gd name="connsiteX1" fmla="*/ 2712575 w 2827630"/>
                <a:gd name="connsiteY1" fmla="*/ 5153244 h 5514273"/>
                <a:gd name="connsiteX2" fmla="*/ 307575 w 2827630"/>
                <a:gd name="connsiteY2" fmla="*/ 5514273 h 5514273"/>
                <a:gd name="connsiteX3" fmla="*/ 0 w 2827630"/>
                <a:gd name="connsiteY3" fmla="*/ 4134617 h 5514273"/>
                <a:gd name="connsiteX4" fmla="*/ 2827630 w 2827630"/>
                <a:gd name="connsiteY4" fmla="*/ 0 h 5514273"/>
                <a:gd name="connsiteX0" fmla="*/ 2827630 w 2827630"/>
                <a:gd name="connsiteY0" fmla="*/ 0 h 6289674"/>
                <a:gd name="connsiteX1" fmla="*/ 2784793 w 2827630"/>
                <a:gd name="connsiteY1" fmla="*/ 6289674 h 6289674"/>
                <a:gd name="connsiteX2" fmla="*/ 307575 w 2827630"/>
                <a:gd name="connsiteY2" fmla="*/ 5514273 h 6289674"/>
                <a:gd name="connsiteX3" fmla="*/ 0 w 2827630"/>
                <a:gd name="connsiteY3" fmla="*/ 4134617 h 6289674"/>
                <a:gd name="connsiteX4" fmla="*/ 2827630 w 2827630"/>
                <a:gd name="connsiteY4" fmla="*/ 0 h 6289674"/>
                <a:gd name="connsiteX0" fmla="*/ 2827630 w 2827630"/>
                <a:gd name="connsiteY0" fmla="*/ 0 h 6289674"/>
                <a:gd name="connsiteX1" fmla="*/ 2784793 w 2827630"/>
                <a:gd name="connsiteY1" fmla="*/ 6289674 h 6289674"/>
                <a:gd name="connsiteX2" fmla="*/ 678982 w 2827630"/>
                <a:gd name="connsiteY2" fmla="*/ 5625274 h 6289674"/>
                <a:gd name="connsiteX3" fmla="*/ 0 w 2827630"/>
                <a:gd name="connsiteY3" fmla="*/ 4134617 h 6289674"/>
                <a:gd name="connsiteX4" fmla="*/ 2827630 w 2827630"/>
                <a:gd name="connsiteY4" fmla="*/ 0 h 6289674"/>
                <a:gd name="connsiteX0" fmla="*/ 2827630 w 2827630"/>
                <a:gd name="connsiteY0" fmla="*/ 0 h 6289674"/>
                <a:gd name="connsiteX1" fmla="*/ 2784793 w 2827630"/>
                <a:gd name="connsiteY1" fmla="*/ 6289674 h 6289674"/>
                <a:gd name="connsiteX2" fmla="*/ 369476 w 2827630"/>
                <a:gd name="connsiteY2" fmla="*/ 5736274 h 6289674"/>
                <a:gd name="connsiteX3" fmla="*/ 0 w 2827630"/>
                <a:gd name="connsiteY3" fmla="*/ 4134617 h 6289674"/>
                <a:gd name="connsiteX4" fmla="*/ 2827630 w 2827630"/>
                <a:gd name="connsiteY4" fmla="*/ 0 h 6289674"/>
                <a:gd name="connsiteX0" fmla="*/ 2827630 w 2827630"/>
                <a:gd name="connsiteY0" fmla="*/ 0 h 6289674"/>
                <a:gd name="connsiteX1" fmla="*/ 2784793 w 2827630"/>
                <a:gd name="connsiteY1" fmla="*/ 6289674 h 6289674"/>
                <a:gd name="connsiteX2" fmla="*/ 369476 w 2827630"/>
                <a:gd name="connsiteY2" fmla="*/ 5736274 h 6289674"/>
                <a:gd name="connsiteX3" fmla="*/ 0 w 2827630"/>
                <a:gd name="connsiteY3" fmla="*/ 4134617 h 6289674"/>
                <a:gd name="connsiteX4" fmla="*/ 2827630 w 2827630"/>
                <a:gd name="connsiteY4" fmla="*/ 0 h 6289674"/>
                <a:gd name="connsiteX0" fmla="*/ 2458154 w 2458154"/>
                <a:gd name="connsiteY0" fmla="*/ 0 h 6289674"/>
                <a:gd name="connsiteX1" fmla="*/ 2415317 w 2458154"/>
                <a:gd name="connsiteY1" fmla="*/ 6289674 h 6289674"/>
                <a:gd name="connsiteX2" fmla="*/ 0 w 2458154"/>
                <a:gd name="connsiteY2" fmla="*/ 5736274 h 6289674"/>
                <a:gd name="connsiteX3" fmla="*/ 398100 w 2458154"/>
                <a:gd name="connsiteY3" fmla="*/ 4375646 h 6289674"/>
                <a:gd name="connsiteX4" fmla="*/ 2458154 w 2458154"/>
                <a:gd name="connsiteY4" fmla="*/ 0 h 6289674"/>
                <a:gd name="connsiteX0" fmla="*/ 2458154 w 2458154"/>
                <a:gd name="connsiteY0" fmla="*/ 0 h 6289674"/>
                <a:gd name="connsiteX1" fmla="*/ 2415317 w 2458154"/>
                <a:gd name="connsiteY1" fmla="*/ 6289674 h 6289674"/>
                <a:gd name="connsiteX2" fmla="*/ 0 w 2458154"/>
                <a:gd name="connsiteY2" fmla="*/ 5736274 h 6289674"/>
                <a:gd name="connsiteX3" fmla="*/ 398100 w 2458154"/>
                <a:gd name="connsiteY3" fmla="*/ 4375646 h 6289674"/>
                <a:gd name="connsiteX4" fmla="*/ 2458154 w 2458154"/>
                <a:gd name="connsiteY4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393148 w 2453202"/>
                <a:gd name="connsiteY3" fmla="*/ 4375646 h 6289674"/>
                <a:gd name="connsiteX4" fmla="*/ 2453202 w 2453202"/>
                <a:gd name="connsiteY4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393148 w 2453202"/>
                <a:gd name="connsiteY3" fmla="*/ 4375646 h 6289674"/>
                <a:gd name="connsiteX4" fmla="*/ 2453202 w 2453202"/>
                <a:gd name="connsiteY4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393148 w 2453202"/>
                <a:gd name="connsiteY3" fmla="*/ 4375646 h 6289674"/>
                <a:gd name="connsiteX4" fmla="*/ 2453202 w 2453202"/>
                <a:gd name="connsiteY4" fmla="*/ 0 h 6289674"/>
                <a:gd name="connsiteX0" fmla="*/ 2541334 w 2541334"/>
                <a:gd name="connsiteY0" fmla="*/ 0 h 6289674"/>
                <a:gd name="connsiteX1" fmla="*/ 2498497 w 2541334"/>
                <a:gd name="connsiteY1" fmla="*/ 6289674 h 6289674"/>
                <a:gd name="connsiteX2" fmla="*/ 88132 w 2541334"/>
                <a:gd name="connsiteY2" fmla="*/ 5787017 h 6289674"/>
                <a:gd name="connsiteX3" fmla="*/ 520559 w 2541334"/>
                <a:gd name="connsiteY3" fmla="*/ 5212247 h 6289674"/>
                <a:gd name="connsiteX4" fmla="*/ 481280 w 2541334"/>
                <a:gd name="connsiteY4" fmla="*/ 4375646 h 6289674"/>
                <a:gd name="connsiteX5" fmla="*/ 2541334 w 2541334"/>
                <a:gd name="connsiteY5" fmla="*/ 0 h 6289674"/>
                <a:gd name="connsiteX0" fmla="*/ 2541334 w 2541334"/>
                <a:gd name="connsiteY0" fmla="*/ 0 h 6289674"/>
                <a:gd name="connsiteX1" fmla="*/ 2498497 w 2541334"/>
                <a:gd name="connsiteY1" fmla="*/ 6289674 h 6289674"/>
                <a:gd name="connsiteX2" fmla="*/ 88132 w 2541334"/>
                <a:gd name="connsiteY2" fmla="*/ 5787017 h 6289674"/>
                <a:gd name="connsiteX3" fmla="*/ 520559 w 2541334"/>
                <a:gd name="connsiteY3" fmla="*/ 5212247 h 6289674"/>
                <a:gd name="connsiteX4" fmla="*/ 481280 w 2541334"/>
                <a:gd name="connsiteY4" fmla="*/ 4375646 h 6289674"/>
                <a:gd name="connsiteX5" fmla="*/ 2541334 w 2541334"/>
                <a:gd name="connsiteY5" fmla="*/ 0 h 6289674"/>
                <a:gd name="connsiteX0" fmla="*/ 2556640 w 2556640"/>
                <a:gd name="connsiteY0" fmla="*/ 0 h 6289674"/>
                <a:gd name="connsiteX1" fmla="*/ 2513803 w 2556640"/>
                <a:gd name="connsiteY1" fmla="*/ 6289674 h 6289674"/>
                <a:gd name="connsiteX2" fmla="*/ 103438 w 2556640"/>
                <a:gd name="connsiteY2" fmla="*/ 5787017 h 6289674"/>
                <a:gd name="connsiteX3" fmla="*/ 397206 w 2556640"/>
                <a:gd name="connsiteY3" fmla="*/ 5091732 h 6289674"/>
                <a:gd name="connsiteX4" fmla="*/ 496586 w 2556640"/>
                <a:gd name="connsiteY4" fmla="*/ 4375646 h 6289674"/>
                <a:gd name="connsiteX5" fmla="*/ 2556640 w 2556640"/>
                <a:gd name="connsiteY5" fmla="*/ 0 h 6289674"/>
                <a:gd name="connsiteX0" fmla="*/ 2556640 w 2556640"/>
                <a:gd name="connsiteY0" fmla="*/ 0 h 6289674"/>
                <a:gd name="connsiteX1" fmla="*/ 2513803 w 2556640"/>
                <a:gd name="connsiteY1" fmla="*/ 6289674 h 6289674"/>
                <a:gd name="connsiteX2" fmla="*/ 103438 w 2556640"/>
                <a:gd name="connsiteY2" fmla="*/ 5787017 h 6289674"/>
                <a:gd name="connsiteX3" fmla="*/ 397206 w 2556640"/>
                <a:gd name="connsiteY3" fmla="*/ 5091732 h 6289674"/>
                <a:gd name="connsiteX4" fmla="*/ 496586 w 2556640"/>
                <a:gd name="connsiteY4" fmla="*/ 4375646 h 6289674"/>
                <a:gd name="connsiteX5" fmla="*/ 2556640 w 2556640"/>
                <a:gd name="connsiteY5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293768 w 2453202"/>
                <a:gd name="connsiteY3" fmla="*/ 5091732 h 6289674"/>
                <a:gd name="connsiteX4" fmla="*/ 393148 w 2453202"/>
                <a:gd name="connsiteY4" fmla="*/ 4375646 h 6289674"/>
                <a:gd name="connsiteX5" fmla="*/ 2453202 w 2453202"/>
                <a:gd name="connsiteY5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293768 w 2453202"/>
                <a:gd name="connsiteY3" fmla="*/ 5091732 h 6289674"/>
                <a:gd name="connsiteX4" fmla="*/ 393148 w 2453202"/>
                <a:gd name="connsiteY4" fmla="*/ 4375646 h 6289674"/>
                <a:gd name="connsiteX5" fmla="*/ 2453202 w 2453202"/>
                <a:gd name="connsiteY5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293768 w 2453202"/>
                <a:gd name="connsiteY3" fmla="*/ 5091732 h 6289674"/>
                <a:gd name="connsiteX4" fmla="*/ 393148 w 2453202"/>
                <a:gd name="connsiteY4" fmla="*/ 4375646 h 6289674"/>
                <a:gd name="connsiteX5" fmla="*/ 2453202 w 2453202"/>
                <a:gd name="connsiteY5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949921 w 2453202"/>
                <a:gd name="connsiteY3" fmla="*/ 4172017 h 6289674"/>
                <a:gd name="connsiteX4" fmla="*/ 393148 w 2453202"/>
                <a:gd name="connsiteY4" fmla="*/ 4375646 h 6289674"/>
                <a:gd name="connsiteX5" fmla="*/ 2453202 w 2453202"/>
                <a:gd name="connsiteY5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949921 w 2453202"/>
                <a:gd name="connsiteY3" fmla="*/ 4172017 h 6289674"/>
                <a:gd name="connsiteX4" fmla="*/ 863597 w 2453202"/>
                <a:gd name="connsiteY4" fmla="*/ 3788931 h 6289674"/>
                <a:gd name="connsiteX5" fmla="*/ 2453202 w 2453202"/>
                <a:gd name="connsiteY5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949921 w 2453202"/>
                <a:gd name="connsiteY3" fmla="*/ 4172017 h 6289674"/>
                <a:gd name="connsiteX4" fmla="*/ 863597 w 2453202"/>
                <a:gd name="connsiteY4" fmla="*/ 3788931 h 6289674"/>
                <a:gd name="connsiteX5" fmla="*/ 2453202 w 2453202"/>
                <a:gd name="connsiteY5" fmla="*/ 0 h 6289674"/>
                <a:gd name="connsiteX0" fmla="*/ 1603091 w 1603091"/>
                <a:gd name="connsiteY0" fmla="*/ 0 h 6289674"/>
                <a:gd name="connsiteX1" fmla="*/ 1560254 w 1603091"/>
                <a:gd name="connsiteY1" fmla="*/ 6289674 h 6289674"/>
                <a:gd name="connsiteX2" fmla="*/ 0 w 1603091"/>
                <a:gd name="connsiteY2" fmla="*/ 4449729 h 6289674"/>
                <a:gd name="connsiteX3" fmla="*/ 99810 w 1603091"/>
                <a:gd name="connsiteY3" fmla="*/ 4172017 h 6289674"/>
                <a:gd name="connsiteX4" fmla="*/ 13486 w 1603091"/>
                <a:gd name="connsiteY4" fmla="*/ 3788931 h 6289674"/>
                <a:gd name="connsiteX5" fmla="*/ 1603091 w 1603091"/>
                <a:gd name="connsiteY5" fmla="*/ 0 h 6289674"/>
                <a:gd name="connsiteX0" fmla="*/ 1648485 w 1648485"/>
                <a:gd name="connsiteY0" fmla="*/ 0 h 6289674"/>
                <a:gd name="connsiteX1" fmla="*/ 1605648 w 1648485"/>
                <a:gd name="connsiteY1" fmla="*/ 6289674 h 6289674"/>
                <a:gd name="connsiteX2" fmla="*/ 0 w 1648485"/>
                <a:gd name="connsiteY2" fmla="*/ 4444444 h 6289674"/>
                <a:gd name="connsiteX3" fmla="*/ 145204 w 1648485"/>
                <a:gd name="connsiteY3" fmla="*/ 4172017 h 6289674"/>
                <a:gd name="connsiteX4" fmla="*/ 58880 w 1648485"/>
                <a:gd name="connsiteY4" fmla="*/ 3788931 h 6289674"/>
                <a:gd name="connsiteX5" fmla="*/ 1648485 w 1648485"/>
                <a:gd name="connsiteY5" fmla="*/ 0 h 6289674"/>
                <a:gd name="connsiteX0" fmla="*/ 1648485 w 1648485"/>
                <a:gd name="connsiteY0" fmla="*/ 0 h 6289674"/>
                <a:gd name="connsiteX1" fmla="*/ 1605648 w 1648485"/>
                <a:gd name="connsiteY1" fmla="*/ 6289674 h 6289674"/>
                <a:gd name="connsiteX2" fmla="*/ 0 w 1648485"/>
                <a:gd name="connsiteY2" fmla="*/ 4444444 h 6289674"/>
                <a:gd name="connsiteX3" fmla="*/ 145204 w 1648485"/>
                <a:gd name="connsiteY3" fmla="*/ 4172017 h 6289674"/>
                <a:gd name="connsiteX4" fmla="*/ 58880 w 1648485"/>
                <a:gd name="connsiteY4" fmla="*/ 3788931 h 6289674"/>
                <a:gd name="connsiteX5" fmla="*/ 1648485 w 1648485"/>
                <a:gd name="connsiteY5" fmla="*/ 0 h 6289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8485" h="6289674">
                  <a:moveTo>
                    <a:pt x="1648485" y="0"/>
                  </a:moveTo>
                  <a:lnTo>
                    <a:pt x="1605648" y="6289674"/>
                  </a:lnTo>
                  <a:lnTo>
                    <a:pt x="0" y="4444444"/>
                  </a:lnTo>
                  <a:cubicBezTo>
                    <a:pt x="279453" y="3776472"/>
                    <a:pt x="79679" y="4407245"/>
                    <a:pt x="145204" y="4172017"/>
                  </a:cubicBezTo>
                  <a:cubicBezTo>
                    <a:pt x="86101" y="4152447"/>
                    <a:pt x="63779" y="4202010"/>
                    <a:pt x="58880" y="3788931"/>
                  </a:cubicBezTo>
                  <a:lnTo>
                    <a:pt x="1648485" y="0"/>
                  </a:lnTo>
                  <a:close/>
                </a:path>
              </a:pathLst>
            </a:custGeom>
            <a:gradFill flip="none" rotWithShape="1">
              <a:gsLst>
                <a:gs pos="21000">
                  <a:schemeClr val="accent3">
                    <a:alpha val="77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 w="285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871057">
                <a:defRPr/>
              </a:pPr>
              <a:endParaRPr lang="en-US" sz="1715">
                <a:solidFill>
                  <a:prstClr val="white"/>
                </a:solidFill>
                <a:latin typeface="Trebuchet MS"/>
              </a:endParaRPr>
            </a:p>
          </p:txBody>
        </p:sp>
      </p:grpSp>
      <p:sp>
        <p:nvSpPr>
          <p:cNvPr id="161" name="TextBox 160">
            <a:extLst>
              <a:ext uri="{FF2B5EF4-FFF2-40B4-BE49-F238E27FC236}">
                <a16:creationId xmlns:a16="http://schemas.microsoft.com/office/drawing/2014/main" id="{62F5A6F8-BB21-8A8D-F14B-737E75A7594B}"/>
              </a:ext>
            </a:extLst>
          </p:cNvPr>
          <p:cNvSpPr txBox="1"/>
          <p:nvPr/>
        </p:nvSpPr>
        <p:spPr>
          <a:xfrm>
            <a:off x="835598" y="5152112"/>
            <a:ext cx="522630" cy="17588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871057">
              <a:defRPr/>
            </a:pPr>
            <a:r>
              <a:rPr lang="en-US" sz="1143">
                <a:solidFill>
                  <a:prstClr val="white"/>
                </a:solidFill>
                <a:latin typeface="Trebuchet MS"/>
                <a:sym typeface="Trebuchet MS" panose="020B0603020202020204" pitchFamily="34" charset="0"/>
              </a:rPr>
              <a:t>Proven</a:t>
            </a: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62643F0D-99F4-4E50-B81A-6D403B5561F2}"/>
              </a:ext>
            </a:extLst>
          </p:cNvPr>
          <p:cNvCxnSpPr>
            <a:cxnSpLocks/>
          </p:cNvCxnSpPr>
          <p:nvPr/>
        </p:nvCxnSpPr>
        <p:spPr>
          <a:xfrm flipH="1">
            <a:off x="6668276" y="3866943"/>
            <a:ext cx="4654802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9D6877DB-301C-4E54-87C4-1F8D7AB88767}"/>
              </a:ext>
            </a:extLst>
          </p:cNvPr>
          <p:cNvSpPr txBox="1"/>
          <p:nvPr/>
        </p:nvSpPr>
        <p:spPr>
          <a:xfrm>
            <a:off x="817408" y="693771"/>
            <a:ext cx="5102352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en-US" sz="1720" b="1" dirty="0">
                <a:solidFill>
                  <a:srgbClr val="BCF6D3"/>
                </a:solidFill>
                <a:latin typeface="Trebuchet MS"/>
              </a:rPr>
              <a:t>Most prospective, largely proven</a:t>
            </a:r>
          </a:p>
        </p:txBody>
      </p:sp>
      <p:sp>
        <p:nvSpPr>
          <p:cNvPr id="108" name="Text Placeholder 3">
            <a:extLst>
              <a:ext uri="{FF2B5EF4-FFF2-40B4-BE49-F238E27FC236}">
                <a16:creationId xmlns:a16="http://schemas.microsoft.com/office/drawing/2014/main" id="{A2185F23-8351-4681-BD8B-A7D1137B6A93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2288859" y="6507310"/>
            <a:ext cx="1227937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871057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53" dirty="0" err="1">
                <a:latin typeface="Trebuchet MS"/>
              </a:rPr>
              <a:t>Discovered_MMTOE</a:t>
            </a:r>
            <a:endParaRPr lang="en-US" sz="953" dirty="0">
              <a:latin typeface="Trebuchet MS"/>
            </a:endParaRPr>
          </a:p>
        </p:txBody>
      </p:sp>
      <p:sp>
        <p:nvSpPr>
          <p:cNvPr id="112" name="Text Placeholder 3">
            <a:extLst>
              <a:ext uri="{FF2B5EF4-FFF2-40B4-BE49-F238E27FC236}">
                <a16:creationId xmlns:a16="http://schemas.microsoft.com/office/drawing/2014/main" id="{D254FD8F-6FDA-4A47-A3CA-8A9263DE2EB8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3832854" y="6507310"/>
            <a:ext cx="1749660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871057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53" dirty="0" err="1">
                <a:latin typeface="Trebuchet MS"/>
              </a:rPr>
              <a:t>Undiscovered_MMTOE</a:t>
            </a:r>
            <a:endParaRPr lang="en-US" sz="953" dirty="0">
              <a:latin typeface="Trebuchet MS"/>
            </a:endParaRPr>
          </a:p>
        </p:txBody>
      </p:sp>
      <p:sp>
        <p:nvSpPr>
          <p:cNvPr id="133" name="TextBox 95"/>
          <p:cNvSpPr txBox="1"/>
          <p:nvPr/>
        </p:nvSpPr>
        <p:spPr>
          <a:xfrm>
            <a:off x="9071116" y="2489930"/>
            <a:ext cx="119036" cy="10479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71057"/>
            <a:r>
              <a:rPr lang="en-IN" sz="1905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35" name="TextBox 95"/>
          <p:cNvSpPr txBox="1"/>
          <p:nvPr/>
        </p:nvSpPr>
        <p:spPr>
          <a:xfrm>
            <a:off x="8174499" y="2994498"/>
            <a:ext cx="119036" cy="7948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71057"/>
            <a:endParaRPr lang="en-IN" sz="1905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05B93EAD-F363-4AEE-B461-4E385EB1DE3F}"/>
              </a:ext>
            </a:extLst>
          </p:cNvPr>
          <p:cNvSpPr txBox="1"/>
          <p:nvPr/>
        </p:nvSpPr>
        <p:spPr>
          <a:xfrm>
            <a:off x="2807420" y="145886"/>
            <a:ext cx="8015911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>
            <a:spAutoFit/>
          </a:bodyPr>
          <a:lstStyle/>
          <a:p>
            <a:pPr algn="ctr" defTabSz="871057">
              <a:defRPr/>
            </a:pPr>
            <a:r>
              <a:rPr lang="en-US" sz="2400" b="1" dirty="0">
                <a:solidFill>
                  <a:srgbClr val="000066"/>
                </a:solidFill>
                <a:latin typeface="Trebuchet MS"/>
              </a:rPr>
              <a:t>Krishna-Godavari Basin (Blocks under Finalization)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76850CA6-EB2E-4F88-A55B-4EF4EC4ED2A9}"/>
              </a:ext>
            </a:extLst>
          </p:cNvPr>
          <p:cNvSpPr txBox="1"/>
          <p:nvPr/>
        </p:nvSpPr>
        <p:spPr>
          <a:xfrm>
            <a:off x="6707233" y="4501798"/>
            <a:ext cx="4654801" cy="23455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241294" indent="-241294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  <a:defRPr sz="1400"/>
            </a:lvl1pPr>
          </a:lstStyle>
          <a:p>
            <a:pPr marL="102881" lvl="1" algn="ctr" defTabSz="871057">
              <a:spcAft>
                <a:spcPts val="286"/>
              </a:spcAft>
              <a:buClr>
                <a:prstClr val="white"/>
              </a:buClr>
              <a:defRPr/>
            </a:pPr>
            <a:r>
              <a:rPr lang="en-US" sz="1524" b="1" dirty="0">
                <a:solidFill>
                  <a:srgbClr val="FFD700"/>
                </a:solidFill>
                <a:latin typeface="Trebuchet MS"/>
              </a:rPr>
              <a:t>Key characteristics</a:t>
            </a:r>
          </a:p>
        </p:txBody>
      </p: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68C02560-39F2-4415-92C3-5B99ED7758F8}"/>
              </a:ext>
            </a:extLst>
          </p:cNvPr>
          <p:cNvCxnSpPr>
            <a:cxnSpLocks/>
          </p:cNvCxnSpPr>
          <p:nvPr/>
        </p:nvCxnSpPr>
        <p:spPr>
          <a:xfrm flipH="1">
            <a:off x="6716751" y="4767778"/>
            <a:ext cx="4654802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2B14CCCC-ECD7-4E98-B6D6-49A149599B9C}"/>
              </a:ext>
            </a:extLst>
          </p:cNvPr>
          <p:cNvCxnSpPr/>
          <p:nvPr/>
        </p:nvCxnSpPr>
        <p:spPr>
          <a:xfrm>
            <a:off x="31554" y="579604"/>
            <a:ext cx="12124944" cy="0"/>
          </a:xfrm>
          <a:prstGeom prst="line">
            <a:avLst/>
          </a:prstGeom>
          <a:ln w="101600" cap="rnd" cmpd="thinThick">
            <a:solidFill>
              <a:schemeClr val="tx2">
                <a:lumMod val="5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34035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D968ACC-4759-4B72-A89C-D99031EB9CC7}"/>
              </a:ext>
            </a:extLst>
          </p:cNvPr>
          <p:cNvSpPr txBox="1"/>
          <p:nvPr/>
        </p:nvSpPr>
        <p:spPr>
          <a:xfrm>
            <a:off x="2119567" y="1983066"/>
            <a:ext cx="7949455" cy="2891867"/>
          </a:xfrm>
          <a:prstGeom prst="rect">
            <a:avLst/>
          </a:prstGeom>
          <a:noFill/>
          <a:effectLst/>
        </p:spPr>
        <p:txBody>
          <a:bodyPr wrap="square" lIns="54610" tIns="54610" rIns="54610" bIns="5461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ock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egory – II Basins</a:t>
            </a:r>
          </a:p>
        </p:txBody>
      </p:sp>
    </p:spTree>
    <p:extLst>
      <p:ext uri="{BB962C8B-B14F-4D97-AF65-F5344CB8AC3E}">
        <p14:creationId xmlns:p14="http://schemas.microsoft.com/office/powerpoint/2010/main" val="1019503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E9BBF43-C70C-4B72-8CB0-48B6A40C7E71}"/>
              </a:ext>
            </a:extLst>
          </p:cNvPr>
          <p:cNvSpPr/>
          <p:nvPr/>
        </p:nvSpPr>
        <p:spPr>
          <a:xfrm>
            <a:off x="11362902" y="6436732"/>
            <a:ext cx="506881" cy="268868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EFB967-B05F-44F5-A9D5-4058FBF90A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90518" y="164078"/>
          <a:ext cx="1513" cy="1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395" imgH="394" progId="TCLayout.ActiveDocument.1">
                  <p:embed/>
                </p:oleObj>
              </mc:Choice>
              <mc:Fallback>
                <p:oleObj name="think-cell Slide" r:id="rId38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EFB967-B05F-44F5-A9D5-4058FBF90A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290518" y="164078"/>
                        <a:ext cx="1513" cy="15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0" name="Group 69">
            <a:extLst>
              <a:ext uri="{FF2B5EF4-FFF2-40B4-BE49-F238E27FC236}">
                <a16:creationId xmlns:a16="http://schemas.microsoft.com/office/drawing/2014/main" id="{F187EA0B-0B26-CD66-E670-494C894AB964}"/>
              </a:ext>
            </a:extLst>
          </p:cNvPr>
          <p:cNvGrpSpPr/>
          <p:nvPr/>
        </p:nvGrpSpPr>
        <p:grpSpPr>
          <a:xfrm rot="5400000">
            <a:off x="7704512" y="2555369"/>
            <a:ext cx="2413251" cy="5683852"/>
            <a:chOff x="424729" y="1165597"/>
            <a:chExt cx="2223089" cy="5596622"/>
          </a:xfrm>
        </p:grpSpPr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12102B9A-B997-C6BE-2E6C-CC1B21B73A9D}"/>
                </a:ext>
              </a:extLst>
            </p:cNvPr>
            <p:cNvCxnSpPr>
              <a:cxnSpLocks/>
            </p:cNvCxnSpPr>
            <p:nvPr/>
          </p:nvCxnSpPr>
          <p:spPr>
            <a:xfrm>
              <a:off x="628197" y="1165597"/>
              <a:ext cx="453" cy="5596622"/>
            </a:xfrm>
            <a:prstGeom prst="line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4BE6B9CC-69C1-4A79-EE25-79AC00CC041B}"/>
                </a:ext>
              </a:extLst>
            </p:cNvPr>
            <p:cNvGrpSpPr/>
            <p:nvPr/>
          </p:nvGrpSpPr>
          <p:grpSpPr>
            <a:xfrm>
              <a:off x="424729" y="1446085"/>
              <a:ext cx="2223089" cy="5035647"/>
              <a:chOff x="424731" y="1593204"/>
              <a:chExt cx="2150517" cy="4644729"/>
            </a:xfrm>
          </p:grpSpPr>
          <p:sp>
            <p:nvSpPr>
              <p:cNvPr id="108" name="Rectangle: Top Corners Rounded 107">
                <a:extLst>
                  <a:ext uri="{FF2B5EF4-FFF2-40B4-BE49-F238E27FC236}">
                    <a16:creationId xmlns:a16="http://schemas.microsoft.com/office/drawing/2014/main" id="{8C16ACD5-7531-65A1-2EAB-5FBD85570F07}"/>
                  </a:ext>
                </a:extLst>
              </p:cNvPr>
              <p:cNvSpPr/>
              <p:nvPr/>
            </p:nvSpPr>
            <p:spPr>
              <a:xfrm rot="5400000">
                <a:off x="-727327" y="2935357"/>
                <a:ext cx="4549092" cy="2056059"/>
              </a:xfrm>
              <a:prstGeom prst="round2SameRect">
                <a:avLst>
                  <a:gd name="adj1" fmla="val 11574"/>
                  <a:gd name="adj2" fmla="val 0"/>
                </a:avLst>
              </a:prstGeom>
              <a:solidFill>
                <a:schemeClr val="accent1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0883">
                  <a:defRPr/>
                </a:pPr>
                <a:endParaRPr lang="en-US" sz="1524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09" name="Rectangle: Top Corners Rounded 108">
                <a:extLst>
                  <a:ext uri="{FF2B5EF4-FFF2-40B4-BE49-F238E27FC236}">
                    <a16:creationId xmlns:a16="http://schemas.microsoft.com/office/drawing/2014/main" id="{BD3147A9-354B-5AEE-7518-C4EA6CA04186}"/>
                  </a:ext>
                </a:extLst>
              </p:cNvPr>
              <p:cNvSpPr/>
              <p:nvPr/>
            </p:nvSpPr>
            <p:spPr>
              <a:xfrm rot="5400000">
                <a:off x="-853362" y="2871297"/>
                <a:ext cx="4632058" cy="2075872"/>
              </a:xfrm>
              <a:prstGeom prst="round2SameRect">
                <a:avLst>
                  <a:gd name="adj1" fmla="val 11574"/>
                  <a:gd name="adj2" fmla="val 0"/>
                </a:avLst>
              </a:prstGeom>
              <a:solidFill>
                <a:schemeClr val="tx2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0883">
                  <a:defRPr/>
                </a:pPr>
                <a:endParaRPr lang="en-US" sz="1524">
                  <a:solidFill>
                    <a:srgbClr val="FFFFFF"/>
                  </a:solidFill>
                  <a:latin typeface="Trebuchet MS"/>
                </a:endParaRPr>
              </a:p>
            </p:txBody>
          </p:sp>
        </p:grpSp>
        <p:sp>
          <p:nvSpPr>
            <p:cNvPr id="104" name="Right Triangle 103">
              <a:extLst>
                <a:ext uri="{FF2B5EF4-FFF2-40B4-BE49-F238E27FC236}">
                  <a16:creationId xmlns:a16="http://schemas.microsoft.com/office/drawing/2014/main" id="{7FF8663A-AEB8-A860-064C-C3278B938A19}"/>
                </a:ext>
              </a:extLst>
            </p:cNvPr>
            <p:cNvSpPr/>
            <p:nvPr/>
          </p:nvSpPr>
          <p:spPr>
            <a:xfrm flipH="1">
              <a:off x="424729" y="1223131"/>
              <a:ext cx="203468" cy="222955"/>
            </a:xfrm>
            <a:prstGeom prst="rtTriangle">
              <a:avLst/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0883">
                <a:defRPr/>
              </a:pPr>
              <a:endParaRPr lang="en-US" sz="1524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07" name="Right Triangle 106">
              <a:extLst>
                <a:ext uri="{FF2B5EF4-FFF2-40B4-BE49-F238E27FC236}">
                  <a16:creationId xmlns:a16="http://schemas.microsoft.com/office/drawing/2014/main" id="{900A1EED-39E8-2CEB-5606-B41C005C61BA}"/>
                </a:ext>
              </a:extLst>
            </p:cNvPr>
            <p:cNvSpPr/>
            <p:nvPr/>
          </p:nvSpPr>
          <p:spPr>
            <a:xfrm flipH="1" flipV="1">
              <a:off x="424729" y="6466492"/>
              <a:ext cx="203468" cy="222955"/>
            </a:xfrm>
            <a:prstGeom prst="rtTriangle">
              <a:avLst/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0883">
                <a:defRPr/>
              </a:pPr>
              <a:endParaRPr lang="en-US" sz="1524">
                <a:solidFill>
                  <a:srgbClr val="FFFFFF"/>
                </a:solidFill>
                <a:latin typeface="Trebuchet MS"/>
              </a:endParaRPr>
            </a:p>
          </p:txBody>
        </p:sp>
      </p:grpSp>
      <p:sp>
        <p:nvSpPr>
          <p:cNvPr id="114" name="Rectangle: Top Corners Rounded 113">
            <a:extLst>
              <a:ext uri="{FF2B5EF4-FFF2-40B4-BE49-F238E27FC236}">
                <a16:creationId xmlns:a16="http://schemas.microsoft.com/office/drawing/2014/main" id="{CA79E3AE-C2AB-8D05-5478-D890DA9DDD92}"/>
              </a:ext>
            </a:extLst>
          </p:cNvPr>
          <p:cNvSpPr/>
          <p:nvPr/>
        </p:nvSpPr>
        <p:spPr>
          <a:xfrm rot="5400000">
            <a:off x="55334" y="4402771"/>
            <a:ext cx="1604485" cy="479380"/>
          </a:xfrm>
          <a:prstGeom prst="round2SameRect">
            <a:avLst>
              <a:gd name="adj1" fmla="val 9823"/>
              <a:gd name="adj2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endParaRPr lang="en-US" sz="1143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15" name="Rectangle: Top Corners Rounded 114">
            <a:extLst>
              <a:ext uri="{FF2B5EF4-FFF2-40B4-BE49-F238E27FC236}">
                <a16:creationId xmlns:a16="http://schemas.microsoft.com/office/drawing/2014/main" id="{1847C3BE-5197-78D7-FEEF-532F7BAC8165}"/>
              </a:ext>
            </a:extLst>
          </p:cNvPr>
          <p:cNvSpPr/>
          <p:nvPr/>
        </p:nvSpPr>
        <p:spPr>
          <a:xfrm rot="5400000">
            <a:off x="451542" y="5635245"/>
            <a:ext cx="810557" cy="477867"/>
          </a:xfrm>
          <a:prstGeom prst="round2SameRect">
            <a:avLst>
              <a:gd name="adj1" fmla="val 16119"/>
              <a:gd name="adj2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endParaRPr lang="en-US" sz="1143" err="1">
              <a:solidFill>
                <a:srgbClr val="FFFFFF"/>
              </a:solidFill>
              <a:latin typeface="Trebuchet MS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A1D1B42A-F2C9-2950-8337-5332DE20ECF5}"/>
              </a:ext>
            </a:extLst>
          </p:cNvPr>
          <p:cNvGrpSpPr/>
          <p:nvPr/>
        </p:nvGrpSpPr>
        <p:grpSpPr>
          <a:xfrm>
            <a:off x="5810438" y="1323644"/>
            <a:ext cx="5884195" cy="2418069"/>
            <a:chOff x="-1089097" y="702733"/>
            <a:chExt cx="7858443" cy="4080998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2F031879-6F3F-F2A7-EE02-CF6AFD788E47}"/>
                </a:ext>
              </a:extLst>
            </p:cNvPr>
            <p:cNvSpPr/>
            <p:nvPr/>
          </p:nvSpPr>
          <p:spPr>
            <a:xfrm>
              <a:off x="-1089097" y="702733"/>
              <a:ext cx="7858443" cy="40728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1057">
                <a:defRPr/>
              </a:pPr>
              <a:endParaRPr lang="en-US" sz="1715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2FF7925D-BA71-DB16-1F49-35F57E02EEEC}"/>
                </a:ext>
              </a:extLst>
            </p:cNvPr>
            <p:cNvSpPr/>
            <p:nvPr/>
          </p:nvSpPr>
          <p:spPr>
            <a:xfrm rot="5400000">
              <a:off x="-1081079" y="707661"/>
              <a:ext cx="946174" cy="946174"/>
            </a:xfrm>
            <a:custGeom>
              <a:avLst/>
              <a:gdLst>
                <a:gd name="connsiteX0" fmla="*/ 0 w 914400"/>
                <a:gd name="connsiteY0" fmla="*/ 914400 h 914400"/>
                <a:gd name="connsiteX1" fmla="*/ 0 w 914400"/>
                <a:gd name="connsiteY1" fmla="*/ 0 h 914400"/>
                <a:gd name="connsiteX2" fmla="*/ 75334 w 914400"/>
                <a:gd name="connsiteY2" fmla="*/ 75334 h 914400"/>
                <a:gd name="connsiteX3" fmla="*/ 75334 w 914400"/>
                <a:gd name="connsiteY3" fmla="*/ 844672 h 914400"/>
                <a:gd name="connsiteX4" fmla="*/ 844672 w 914400"/>
                <a:gd name="connsiteY4" fmla="*/ 844672 h 914400"/>
                <a:gd name="connsiteX5" fmla="*/ 914400 w 914400"/>
                <a:gd name="connsiteY5" fmla="*/ 9144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400" h="914400">
                  <a:moveTo>
                    <a:pt x="0" y="914400"/>
                  </a:moveTo>
                  <a:lnTo>
                    <a:pt x="0" y="0"/>
                  </a:lnTo>
                  <a:lnTo>
                    <a:pt x="75334" y="75334"/>
                  </a:lnTo>
                  <a:lnTo>
                    <a:pt x="75334" y="844672"/>
                  </a:lnTo>
                  <a:lnTo>
                    <a:pt x="844672" y="844672"/>
                  </a:lnTo>
                  <a:lnTo>
                    <a:pt x="914400" y="914400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871057">
                <a:defRPr/>
              </a:pPr>
              <a:endParaRPr lang="en-US" sz="1715">
                <a:solidFill>
                  <a:prstClr val="white"/>
                </a:solidFill>
                <a:latin typeface="Trebuchet M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6B51CE1-E407-B0D7-98FB-0714F445D699}"/>
                </a:ext>
              </a:extLst>
            </p:cNvPr>
            <p:cNvSpPr/>
            <p:nvPr/>
          </p:nvSpPr>
          <p:spPr>
            <a:xfrm rot="16200000">
              <a:off x="5823171" y="3837557"/>
              <a:ext cx="946175" cy="946174"/>
            </a:xfrm>
            <a:custGeom>
              <a:avLst/>
              <a:gdLst>
                <a:gd name="connsiteX0" fmla="*/ 0 w 914400"/>
                <a:gd name="connsiteY0" fmla="*/ 914400 h 914400"/>
                <a:gd name="connsiteX1" fmla="*/ 0 w 914400"/>
                <a:gd name="connsiteY1" fmla="*/ 0 h 914400"/>
                <a:gd name="connsiteX2" fmla="*/ 75334 w 914400"/>
                <a:gd name="connsiteY2" fmla="*/ 75334 h 914400"/>
                <a:gd name="connsiteX3" fmla="*/ 75334 w 914400"/>
                <a:gd name="connsiteY3" fmla="*/ 844672 h 914400"/>
                <a:gd name="connsiteX4" fmla="*/ 844672 w 914400"/>
                <a:gd name="connsiteY4" fmla="*/ 844672 h 914400"/>
                <a:gd name="connsiteX5" fmla="*/ 914400 w 914400"/>
                <a:gd name="connsiteY5" fmla="*/ 9144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400" h="914400">
                  <a:moveTo>
                    <a:pt x="0" y="914400"/>
                  </a:moveTo>
                  <a:lnTo>
                    <a:pt x="0" y="0"/>
                  </a:lnTo>
                  <a:lnTo>
                    <a:pt x="75334" y="75334"/>
                  </a:lnTo>
                  <a:lnTo>
                    <a:pt x="75334" y="844672"/>
                  </a:lnTo>
                  <a:lnTo>
                    <a:pt x="844672" y="844672"/>
                  </a:lnTo>
                  <a:lnTo>
                    <a:pt x="914400" y="914400"/>
                  </a:lnTo>
                  <a:close/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871057">
                <a:defRPr/>
              </a:pPr>
              <a:endParaRPr lang="en-US" sz="1715">
                <a:solidFill>
                  <a:prstClr val="white"/>
                </a:solidFill>
                <a:latin typeface="Trebuchet MS"/>
              </a:endParaRPr>
            </a:p>
          </p:txBody>
        </p:sp>
      </p:grpSp>
      <p:sp>
        <p:nvSpPr>
          <p:cNvPr id="77" name="Title 1">
            <a:extLst>
              <a:ext uri="{FF2B5EF4-FFF2-40B4-BE49-F238E27FC236}">
                <a16:creationId xmlns:a16="http://schemas.microsoft.com/office/drawing/2014/main" id="{F9D9CACA-BC82-4C44-83CA-1883CCAA6FA4}"/>
              </a:ext>
            </a:extLst>
          </p:cNvPr>
          <p:cNvSpPr txBox="1">
            <a:spLocks/>
          </p:cNvSpPr>
          <p:nvPr/>
        </p:nvSpPr>
        <p:spPr>
          <a:xfrm>
            <a:off x="6422375" y="691694"/>
            <a:ext cx="5102352" cy="49815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en-IN" sz="1715" b="1" dirty="0">
                <a:solidFill>
                  <a:prstClr val="white"/>
                </a:solidFill>
                <a:latin typeface="Trebuchet MS"/>
              </a:rPr>
              <a:t>2 Blocks</a:t>
            </a:r>
          </a:p>
        </p:txBody>
      </p:sp>
      <p:graphicFrame>
        <p:nvGraphicFramePr>
          <p:cNvPr id="111" name="Chart 110">
            <a:extLst>
              <a:ext uri="{FF2B5EF4-FFF2-40B4-BE49-F238E27FC236}">
                <a16:creationId xmlns:a16="http://schemas.microsoft.com/office/drawing/2014/main" id="{04F40678-1DC6-4526-B1A1-98D51EF7006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1821277"/>
              </p:ext>
            </p:extLst>
          </p:nvPr>
        </p:nvGraphicFramePr>
        <p:xfrm>
          <a:off x="2936150" y="1431359"/>
          <a:ext cx="2216941" cy="14275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101" name="ee4pHeader2">
            <a:extLst>
              <a:ext uri="{FF2B5EF4-FFF2-40B4-BE49-F238E27FC236}">
                <a16:creationId xmlns:a16="http://schemas.microsoft.com/office/drawing/2014/main" id="{A27DF0C5-9834-4AD0-AF91-24652B08DF1F}"/>
              </a:ext>
            </a:extLst>
          </p:cNvPr>
          <p:cNvSpPr txBox="1"/>
          <p:nvPr/>
        </p:nvSpPr>
        <p:spPr>
          <a:xfrm>
            <a:off x="617888" y="3424352"/>
            <a:ext cx="4989073" cy="22986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 defTabSz="871057">
              <a:defRPr/>
            </a:pPr>
            <a:r>
              <a:rPr lang="en-US" sz="1524" b="1" dirty="0">
                <a:solidFill>
                  <a:srgbClr val="264796"/>
                </a:solidFill>
                <a:latin typeface="Trebuchet MS"/>
              </a:rPr>
              <a:t>Basin's risked resource potential - 198 MMTOE</a:t>
            </a:r>
          </a:p>
        </p:txBody>
      </p:sp>
      <p:graphicFrame>
        <p:nvGraphicFramePr>
          <p:cNvPr id="156" name="Chart 155">
            <a:extLst>
              <a:ext uri="{FF2B5EF4-FFF2-40B4-BE49-F238E27FC236}">
                <a16:creationId xmlns:a16="http://schemas.microsoft.com/office/drawing/2014/main" id="{45CDB07E-BBB9-4FE8-BF4B-A777CC0FF97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25223403"/>
              </p:ext>
            </p:extLst>
          </p:nvPr>
        </p:nvGraphicFramePr>
        <p:xfrm>
          <a:off x="3172058" y="3766118"/>
          <a:ext cx="2534511" cy="25466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D59E7A1B-423D-F0C7-B3AE-370AE1773471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H="1">
            <a:off x="3299087" y="4142666"/>
            <a:ext cx="71076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8B1487C0-5F1F-8500-113F-E1C51BD72B14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 flipH="1">
            <a:off x="3297575" y="4340769"/>
            <a:ext cx="69563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BAF0570-098B-674F-20AB-FEB68097328D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4920205" y="5745640"/>
            <a:ext cx="0" cy="10586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7FB28564-92A3-395E-D744-144D6E2C3B3C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H="1">
            <a:off x="4599610" y="5756224"/>
            <a:ext cx="320594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B0BF894D-3FA4-780F-7FD4-095F7E60060C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H="1">
            <a:off x="3252207" y="5713881"/>
            <a:ext cx="1444188" cy="0"/>
          </a:xfrm>
          <a:prstGeom prst="line">
            <a:avLst/>
          </a:prstGeom>
          <a:ln w="6350" cap="flat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8" name="Text Placeholder 3">
            <a:extLst>
              <a:ext uri="{FF2B5EF4-FFF2-40B4-BE49-F238E27FC236}">
                <a16:creationId xmlns:a16="http://schemas.microsoft.com/office/drawing/2014/main" id="{5E1311CF-AE73-42AF-A2BD-214B77EEB68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764165" y="4260622"/>
            <a:ext cx="1364039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D80DBD1C-948A-4494-9E9C-C237FF4B00D5}" type="datetime'''0''''4'' ''''''P''A''''''''LAEOC''ENE''_CL''AST''''I''''C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4 PALAEOCENE_CLASTIC</a:t>
            </a:fld>
            <a:endParaRPr lang="en-US" sz="953">
              <a:latin typeface="Trebuchet MS"/>
            </a:endParaRP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E79B352C-E220-127D-19BC-0BF791AC2DD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752741" y="5490882"/>
            <a:ext cx="175420" cy="91440"/>
          </a:xfrm>
          <a:prstGeom prst="rect">
            <a:avLst/>
          </a:prstGeom>
          <a:solidFill>
            <a:srgbClr val="32B842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078DCD60-5CFD-4CA4-A9EB-CC6DB4EE0DE9}" type="datetime'''''''''''''3''''''''''''''''4'''''''''''''''''''">
              <a:rPr lang="en-US" altLang="en-US" sz="953"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34</a:t>
            </a:fld>
            <a:endParaRPr lang="en-US" sz="953" dirty="0">
              <a:latin typeface="Trebuchet MS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A8EEA4D-C845-9247-718A-F308CDAB367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218247" y="5057571"/>
            <a:ext cx="1909957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94328E15-35B5-4CB4-B4D2-425F31B8DCB9}" type="datetime'08 CRETA''''CE''OUS_L''A''''T''''''''E_CARB''ONA''T''E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8 CRETACEOUS_LATE_CARBONATE</a:t>
            </a:fld>
            <a:endParaRPr lang="en-US" sz="953">
              <a:latin typeface="Trebuchet MS"/>
            </a:endParaRPr>
          </a:p>
        </p:txBody>
      </p:sp>
      <p:sp>
        <p:nvSpPr>
          <p:cNvPr id="135" name="Text Placeholder 3">
            <a:extLst>
              <a:ext uri="{FF2B5EF4-FFF2-40B4-BE49-F238E27FC236}">
                <a16:creationId xmlns:a16="http://schemas.microsoft.com/office/drawing/2014/main" id="{6A9DBEC7-E430-4B19-B500-72E260687D3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325649" y="3897825"/>
            <a:ext cx="111906" cy="91440"/>
          </a:xfrm>
          <a:prstGeom prst="rect">
            <a:avLst/>
          </a:prstGeom>
          <a:solidFill>
            <a:srgbClr val="5A5A5A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</a:pPr>
            <a:fld id="{77A9500E-0B12-4EC0-801F-2F5ADD6A4DE1}" type="datetime'''''''''''''''''7'''''">
              <a:rPr lang="en-US" altLang="en-US" sz="953">
                <a:solidFill>
                  <a:prstClr val="white"/>
                </a:solidFill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sz="953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2" name="Text Placeholder 3">
            <a:extLst>
              <a:ext uri="{FF2B5EF4-FFF2-40B4-BE49-F238E27FC236}">
                <a16:creationId xmlns:a16="http://schemas.microsoft.com/office/drawing/2014/main" id="{54F934EB-88D3-4C96-ABCB-88F506ECEDC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487424" y="3862903"/>
            <a:ext cx="1640779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809D5738-2E1E-499E-A553-DE11887A2C1F}" type="datetime'''''0''1'''''''''''' ''M''I''''''OC''ENE_MID''DLE_CLAS''TIC 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1 MIOCENE_MIDDLE_CLASTIC </a:t>
            </a:fld>
            <a:endParaRPr lang="en-US" sz="953">
              <a:latin typeface="Trebuchet MS"/>
            </a:endParaRPr>
          </a:p>
        </p:txBody>
      </p:sp>
      <p:sp>
        <p:nvSpPr>
          <p:cNvPr id="145" name="Text Placeholder 3">
            <a:extLst>
              <a:ext uri="{FF2B5EF4-FFF2-40B4-BE49-F238E27FC236}">
                <a16:creationId xmlns:a16="http://schemas.microsoft.com/office/drawing/2014/main" id="{3C9317E0-1763-4845-AD2B-1991FEC9D7F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425423" y="4062518"/>
            <a:ext cx="1702780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AA2241B8-CFCF-4C61-99DC-B9A3704B5C0B}" type="datetime'0''3 ''EO''''CEN''E''''_''EARLY''''_''C''''ARBON''A''''''TE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3 EOCENE_EARLY_CARBONATE</a:t>
            </a:fld>
            <a:endParaRPr lang="en-US" sz="953">
              <a:latin typeface="Trebuchet MS"/>
            </a:endParaRPr>
          </a:p>
        </p:txBody>
      </p:sp>
      <p:sp>
        <p:nvSpPr>
          <p:cNvPr id="139" name="Text Placeholder 3">
            <a:extLst>
              <a:ext uri="{FF2B5EF4-FFF2-40B4-BE49-F238E27FC236}">
                <a16:creationId xmlns:a16="http://schemas.microsoft.com/office/drawing/2014/main" id="{AB6F0732-B372-4C82-BA12-246D953C10A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341428" y="4484794"/>
            <a:ext cx="111906" cy="91440"/>
          </a:xfrm>
          <a:prstGeom prst="rect">
            <a:avLst/>
          </a:prstGeom>
          <a:solidFill>
            <a:srgbClr val="5A5A5A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</a:pPr>
            <a:fld id="{26704B6A-FEDA-40B3-BD98-C127D7906AAE}" type="datetime'''''8'''''''''''''''''">
              <a:rPr lang="en-US" altLang="en-US" sz="953">
                <a:solidFill>
                  <a:prstClr val="white"/>
                </a:solidFill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sz="953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3" name="Text Placeholder 3">
            <a:extLst>
              <a:ext uri="{FF2B5EF4-FFF2-40B4-BE49-F238E27FC236}">
                <a16:creationId xmlns:a16="http://schemas.microsoft.com/office/drawing/2014/main" id="{2E77A835-C071-49D3-9307-B1FFD50615F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519181" y="4460238"/>
            <a:ext cx="1609021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EF174054-FD14-4F6A-988C-734A264F9FE1}" type="datetime'05 ''PAL''''A''E''OC''''''ENE_CA''''RBONA''T''''E'' 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5 PALAEOCENE_CARBONATE </a:t>
            </a:fld>
            <a:endParaRPr lang="en-US" sz="953">
              <a:latin typeface="Trebuchet MS"/>
            </a:endParaRPr>
          </a:p>
        </p:txBody>
      </p:sp>
      <p:sp>
        <p:nvSpPr>
          <p:cNvPr id="146" name="Text Placeholder 3">
            <a:extLst>
              <a:ext uri="{FF2B5EF4-FFF2-40B4-BE49-F238E27FC236}">
                <a16:creationId xmlns:a16="http://schemas.microsoft.com/office/drawing/2014/main" id="{64A45585-7FF3-4B94-9F96-D5B6DB317CF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537773" y="4692073"/>
            <a:ext cx="175420" cy="91440"/>
          </a:xfrm>
          <a:prstGeom prst="rect">
            <a:avLst/>
          </a:prstGeom>
          <a:solidFill>
            <a:srgbClr val="5A5A5A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</a:pPr>
            <a:fld id="{EFCC3577-DC49-4AB5-88B3-E02EB18B3522}" type="datetime'2''''''''''''''''''''''''''''''''''''2'''''''''''">
              <a:rPr lang="en-US" altLang="en-US" sz="953">
                <a:solidFill>
                  <a:prstClr val="white"/>
                </a:solidFill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US" sz="953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ECEA3A2-E1AC-4D19-CC4D-47F82980FDD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561523" y="6052624"/>
            <a:ext cx="1566679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AA815478-C346-4242-8BF0-215452A68CBF}" type="datetime'''12 ''JURASS''I''''''''C_MI''''D''''DLE_LOW''''''ER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12 JURASSIC_MIDDLE_LOWER</a:t>
            </a:fld>
            <a:endParaRPr lang="en-US" sz="953">
              <a:latin typeface="Trebuchet MS"/>
            </a:endParaRP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EF2CC8F2-D44C-4E3C-931B-6FD3266A6B9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148683" y="4659853"/>
            <a:ext cx="1979520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94FF23B2-2C81-4C8A-B8AD-8B1E904E11ED}" type="datetime'''''06'''' PALEOC''ENE_WE''''''AT''''HE''R''E''''''D''_BASALT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6 PALEOCENE_WEATHERED_BASALT</a:t>
            </a:fld>
            <a:endParaRPr lang="en-US" sz="953">
              <a:latin typeface="Trebuchet MS"/>
            </a:endParaRP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DECC2F33-F453-D727-89AA-97E7D0BBACD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518255" y="5492395"/>
            <a:ext cx="111906" cy="91440"/>
          </a:xfrm>
          <a:prstGeom prst="rect">
            <a:avLst/>
          </a:prstGeom>
          <a:solidFill>
            <a:srgbClr val="5A5A5A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A7265E6E-5C25-4176-9359-D851D01149F9}" type="datetime'''''''''7'''''''''">
              <a:rPr lang="en-US" altLang="en-US" sz="953">
                <a:solidFill>
                  <a:prstClr val="white"/>
                </a:solidFill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US" sz="953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0" name="Text Placeholder 3">
            <a:extLst>
              <a:ext uri="{FF2B5EF4-FFF2-40B4-BE49-F238E27FC236}">
                <a16:creationId xmlns:a16="http://schemas.microsoft.com/office/drawing/2014/main" id="{EA42EBEA-1D21-45A4-AFB5-BAFE3EF3A22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292155" y="4887847"/>
            <a:ext cx="111906" cy="91440"/>
          </a:xfrm>
          <a:prstGeom prst="rect">
            <a:avLst/>
          </a:prstGeom>
          <a:solidFill>
            <a:srgbClr val="5A5A5A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</a:pPr>
            <a:fld id="{8EE9BC3A-0EBB-4E9D-ACA2-B2BACEAD09E3}" type="datetime'''''''''''''''''''''''''''''''''''''''5'''''''''''''''''''''">
              <a:rPr lang="en-US" altLang="en-US" sz="953">
                <a:solidFill>
                  <a:prstClr val="white"/>
                </a:solidFill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953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0" name="Text Placeholder 3">
            <a:extLst>
              <a:ext uri="{FF2B5EF4-FFF2-40B4-BE49-F238E27FC236}">
                <a16:creationId xmlns:a16="http://schemas.microsoft.com/office/drawing/2014/main" id="{1B34EBA7-535F-45CA-9015-E7C780F2C2E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426935" y="4857956"/>
            <a:ext cx="1701268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8A58A9FD-83A1-4A71-ACB4-7F6523EDA082}" type="datetime'07 C''R''''E''T''''A''CE''OUS_''LATE_''''CL''''''ASTI''''C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7 CRETACEOUS_LATE_CLASTIC</a:t>
            </a:fld>
            <a:endParaRPr lang="en-US" sz="953">
              <a:latin typeface="Trebuchet MS"/>
            </a:endParaRPr>
          </a:p>
        </p:txBody>
      </p:sp>
      <p:sp>
        <p:nvSpPr>
          <p:cNvPr id="152" name="Text Placeholder 3">
            <a:extLst>
              <a:ext uri="{FF2B5EF4-FFF2-40B4-BE49-F238E27FC236}">
                <a16:creationId xmlns:a16="http://schemas.microsoft.com/office/drawing/2014/main" id="{592D3EF6-A2D2-4B28-A8A7-47F39450E60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250695" y="5057572"/>
            <a:ext cx="111906" cy="160297"/>
          </a:xfrm>
          <a:prstGeom prst="rect">
            <a:avLst/>
          </a:prstGeom>
          <a:solidFill>
            <a:srgbClr val="5A5A5A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</a:pPr>
            <a:fld id="{218B758A-5C23-4558-967B-C496044F2D3B}" type="datetime'''''''''''''''''''3'''''''''''''''''''">
              <a:rPr lang="en-US" altLang="en-US" sz="953">
                <a:solidFill>
                  <a:prstClr val="white"/>
                </a:solidFill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953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3" name="Text Placeholder 3">
            <a:extLst>
              <a:ext uri="{FF2B5EF4-FFF2-40B4-BE49-F238E27FC236}">
                <a16:creationId xmlns:a16="http://schemas.microsoft.com/office/drawing/2014/main" id="{B410D5B0-5DD0-4ABF-BF55-07223AA89F2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456680" y="5282087"/>
            <a:ext cx="175420" cy="91440"/>
          </a:xfrm>
          <a:prstGeom prst="rect">
            <a:avLst/>
          </a:prstGeom>
          <a:solidFill>
            <a:srgbClr val="5A5A5A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</a:pPr>
            <a:fld id="{5C0F333C-4DCC-4A6E-96EE-F07447096792}" type="datetime'''''''''''''''''''''''1''''''''''''''''''''''''''''''''''7'">
              <a:rPr lang="en-US" altLang="en-US" sz="953">
                <a:solidFill>
                  <a:prstClr val="white"/>
                </a:solidFill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 sz="953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24B1493-E698-661A-7F97-3FCCDF20C91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556989" y="5257187"/>
            <a:ext cx="1571216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B0008AAC-9D25-4D10-9749-17133BD66C68}" type="datetime'''''1''''''1 ''''JURA''SSI''''C_MI''''D''''''''DLE_U''P''PER 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11 JURASSIC_MIDDLE_UPPER </a:t>
            </a:fld>
            <a:endParaRPr lang="en-US" sz="953">
              <a:latin typeface="Trebuchet MS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F480E18-FB27-9B2D-D1CE-B5E1F3C92D8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634111" y="5455290"/>
            <a:ext cx="1494091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388F29E0-5DBD-409C-90BB-D00DBD0FD693}" type="datetime'02 ''''''''E''''''O''C''E''N''''''E_''EARLY_''''C''LASTIC''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2 EOCENE_EARLY_CLASTIC</a:t>
            </a:fld>
            <a:endParaRPr lang="en-US" sz="953">
              <a:latin typeface="Trebuchet MS"/>
            </a:endParaRP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6652890A-87E3-21AB-B65A-D5D0D9ADF19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799657" y="5887927"/>
            <a:ext cx="175420" cy="91440"/>
          </a:xfrm>
          <a:prstGeom prst="rect">
            <a:avLst/>
          </a:prstGeom>
          <a:solidFill>
            <a:srgbClr val="32B842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6C48AF28-ECB3-42E4-980E-7503C544A044}" type="datetime'3''''''''''6'''''''''''''''''''''''">
              <a:rPr lang="en-US" altLang="en-US" sz="953"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36</a:t>
            </a:fld>
            <a:endParaRPr lang="en-US" sz="953" dirty="0">
              <a:latin typeface="Trebuchet M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327A44E-07FE-A926-CB0D-F3824DCBBED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857922" y="5654906"/>
            <a:ext cx="1270280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05FEB52E-BDB5-4E4F-961F-A936792774A9}" type="datetime'09 ''CRET''''''''AC''''EO''US''''_E''''A''R''''''LY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9 CRETACEOUS_EARLY</a:t>
            </a:fld>
            <a:endParaRPr lang="en-US" sz="953">
              <a:latin typeface="Trebuchet M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60F1010-7270-9943-8581-9DF74D3A27E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134662" y="5854521"/>
            <a:ext cx="993541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2DAEBA3E-DFF0-4A10-BF24-209E77D58F55}" type="datetime'''1''0 ''JU''''RA''S''SI''C_''L''''A''''''T''''''''''E''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10 JURASSIC_LATE</a:t>
            </a:fld>
            <a:endParaRPr lang="en-US" sz="953">
              <a:latin typeface="Trebuchet MS"/>
            </a:endParaRPr>
          </a:p>
        </p:txBody>
      </p: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A4C2D844-E913-11B8-7765-D07F1CC24B2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726943" y="5891626"/>
            <a:ext cx="175420" cy="91440"/>
          </a:xfrm>
          <a:prstGeom prst="rect">
            <a:avLst/>
          </a:prstGeom>
          <a:solidFill>
            <a:srgbClr val="5A5A5A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B8C4DC19-D015-4224-9EA1-7EDE076063E0}" type="datetime'''''''''''''''''''''''''1''''6'''''''''''''''">
              <a:rPr lang="en-US" altLang="en-US" sz="953">
                <a:solidFill>
                  <a:prstClr val="white"/>
                </a:solidFill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en-US" sz="953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89FE2563-A34A-5955-040E-0ACF7652FFA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360981" y="6089729"/>
            <a:ext cx="175420" cy="91440"/>
          </a:xfrm>
          <a:prstGeom prst="rect">
            <a:avLst/>
          </a:prstGeom>
          <a:solidFill>
            <a:srgbClr val="5A5A5A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D0F00637-F2D8-4C31-9BB1-66CCE1947A16}" type="datetime'''''''''''''''''''6''''''''''''''''''7'''''''">
              <a:rPr lang="en-US" altLang="en-US" sz="953">
                <a:solidFill>
                  <a:prstClr val="white"/>
                </a:solidFill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67</a:t>
            </a:fld>
            <a:endParaRPr lang="en-US" sz="953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C503C610-1A7A-429B-9FD5-32B5ED586D1E}"/>
              </a:ext>
            </a:extLst>
          </p:cNvPr>
          <p:cNvSpPr txBox="1"/>
          <p:nvPr/>
        </p:nvSpPr>
        <p:spPr>
          <a:xfrm>
            <a:off x="644561" y="4554505"/>
            <a:ext cx="426034" cy="175911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r>
              <a:rPr lang="en-US" sz="1143">
                <a:solidFill>
                  <a:prstClr val="white"/>
                </a:solidFill>
                <a:latin typeface="Trebuchet MS"/>
                <a:sym typeface="Trebuchet MS" panose="020B0603020202020204" pitchFamily="34" charset="0"/>
              </a:rPr>
              <a:t>Known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31950EF7-DE4C-46CF-8DC9-612334187D3A}"/>
              </a:ext>
            </a:extLst>
          </p:cNvPr>
          <p:cNvSpPr txBox="1"/>
          <p:nvPr/>
        </p:nvSpPr>
        <p:spPr>
          <a:xfrm>
            <a:off x="636557" y="5786223"/>
            <a:ext cx="442038" cy="175911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r>
              <a:rPr lang="en-US" sz="1143">
                <a:solidFill>
                  <a:prstClr val="white"/>
                </a:solidFill>
                <a:latin typeface="Trebuchet MS"/>
                <a:sym typeface="Trebuchet MS" panose="020B0603020202020204" pitchFamily="34" charset="0"/>
              </a:rPr>
              <a:t>Proven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00BDF8E-4E2E-B0F9-71CB-04B87C2BF4A2}"/>
              </a:ext>
            </a:extLst>
          </p:cNvPr>
          <p:cNvCxnSpPr>
            <a:cxnSpLocks/>
          </p:cNvCxnSpPr>
          <p:nvPr/>
        </p:nvCxnSpPr>
        <p:spPr>
          <a:xfrm flipH="1">
            <a:off x="617888" y="3710166"/>
            <a:ext cx="4989073" cy="0"/>
          </a:xfrm>
          <a:prstGeom prst="line">
            <a:avLst/>
          </a:prstGeom>
          <a:ln w="9525" cap="rnd">
            <a:solidFill>
              <a:schemeClr val="accent5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3DC412DB-DBD0-4486-9322-A39EF16B3D12}"/>
              </a:ext>
            </a:extLst>
          </p:cNvPr>
          <p:cNvSpPr txBox="1"/>
          <p:nvPr/>
        </p:nvSpPr>
        <p:spPr>
          <a:xfrm>
            <a:off x="6511943" y="4636068"/>
            <a:ext cx="4923794" cy="18225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241294" indent="-241294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  <a:defRPr sz="1400"/>
            </a:lvl1pPr>
          </a:lstStyle>
          <a:p>
            <a:pPr marL="375086" lvl="1" indent="-272205" defTabSz="871057">
              <a:spcAft>
                <a:spcPts val="1143"/>
              </a:spcAft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430" dirty="0">
                <a:solidFill>
                  <a:prstClr val="white"/>
                </a:solidFill>
                <a:latin typeface="Trebuchet MS"/>
              </a:rPr>
              <a:t>Presence of prospective plays of </a:t>
            </a:r>
            <a:r>
              <a:rPr lang="en-US" sz="1430" dirty="0">
                <a:solidFill>
                  <a:srgbClr val="FFD700"/>
                </a:solidFill>
                <a:latin typeface="Trebuchet MS"/>
              </a:rPr>
              <a:t> Middle Jurassic to Early Cretaceous</a:t>
            </a:r>
            <a:endParaRPr lang="en-US" sz="1430" dirty="0">
              <a:solidFill>
                <a:prstClr val="white"/>
              </a:solidFill>
              <a:latin typeface="Trebuchet MS"/>
            </a:endParaRPr>
          </a:p>
          <a:p>
            <a:pPr marL="375086" lvl="1" indent="-272205" defTabSz="871057">
              <a:spcAft>
                <a:spcPts val="1143"/>
              </a:spcAft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430" dirty="0">
                <a:solidFill>
                  <a:prstClr val="white"/>
                </a:solidFill>
                <a:latin typeface="Trebuchet MS"/>
              </a:rPr>
              <a:t>A significant gas discovery in </a:t>
            </a:r>
            <a:r>
              <a:rPr lang="en-US" sz="1430" dirty="0">
                <a:solidFill>
                  <a:srgbClr val="FFD700"/>
                </a:solidFill>
                <a:latin typeface="Trebuchet MS"/>
              </a:rPr>
              <a:t>Early Cretaceous </a:t>
            </a:r>
            <a:r>
              <a:rPr lang="en-US" sz="1430" dirty="0">
                <a:solidFill>
                  <a:prstClr val="white"/>
                </a:solidFill>
                <a:latin typeface="Trebuchet MS"/>
              </a:rPr>
              <a:t>reservoirs at 4,500m depth, below </a:t>
            </a:r>
            <a:r>
              <a:rPr lang="en-US" sz="1430" dirty="0">
                <a:solidFill>
                  <a:srgbClr val="FFD700"/>
                </a:solidFill>
                <a:latin typeface="Trebuchet MS"/>
              </a:rPr>
              <a:t>2,500m thick weathered basalt</a:t>
            </a:r>
          </a:p>
          <a:p>
            <a:pPr marL="375086" lvl="1" indent="-272205" defTabSz="871057">
              <a:spcAft>
                <a:spcPts val="1143"/>
              </a:spcAft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430" dirty="0">
                <a:solidFill>
                  <a:prstClr val="white"/>
                </a:solidFill>
                <a:latin typeface="Trebuchet MS"/>
              </a:rPr>
              <a:t>Extended proven </a:t>
            </a:r>
            <a:r>
              <a:rPr lang="en-US" sz="1430" dirty="0">
                <a:solidFill>
                  <a:srgbClr val="FFD700"/>
                </a:solidFill>
                <a:latin typeface="Trebuchet MS"/>
              </a:rPr>
              <a:t>Tertiary Plays </a:t>
            </a:r>
            <a:r>
              <a:rPr lang="en-US" sz="1430" dirty="0">
                <a:solidFill>
                  <a:prstClr val="white"/>
                </a:solidFill>
                <a:latin typeface="Trebuchet MS"/>
              </a:rPr>
              <a:t>of Kutch basin are potential target</a:t>
            </a:r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7EF81115-8847-BD1A-EDBB-1637ECBD9AD3}"/>
              </a:ext>
            </a:extLst>
          </p:cNvPr>
          <p:cNvPicPr preferRelativeResize="0">
            <a:picLocks/>
          </p:cNvPicPr>
          <p:nvPr/>
        </p:nvPicPr>
        <p:blipFill>
          <a:blip r:embed="rId42"/>
          <a:srcRect/>
          <a:stretch/>
        </p:blipFill>
        <p:spPr>
          <a:xfrm>
            <a:off x="1097268" y="1509997"/>
            <a:ext cx="1504677" cy="161809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93F07E5D-0096-6EB2-D475-6F2572826F02}"/>
              </a:ext>
            </a:extLst>
          </p:cNvPr>
          <p:cNvSpPr/>
          <p:nvPr/>
        </p:nvSpPr>
        <p:spPr>
          <a:xfrm>
            <a:off x="1308224" y="1933453"/>
            <a:ext cx="1258182" cy="731923"/>
          </a:xfrm>
          <a:custGeom>
            <a:avLst/>
            <a:gdLst>
              <a:gd name="connsiteX0" fmla="*/ 3248298 w 3248298"/>
              <a:gd name="connsiteY0" fmla="*/ 0 h 3066413"/>
              <a:gd name="connsiteX1" fmla="*/ 3248298 w 3248298"/>
              <a:gd name="connsiteY1" fmla="*/ 3066413 h 3066413"/>
              <a:gd name="connsiteX2" fmla="*/ 49081 w 3248298"/>
              <a:gd name="connsiteY2" fmla="*/ 1875414 h 3066413"/>
              <a:gd name="connsiteX3" fmla="*/ 49652 w 3248298"/>
              <a:gd name="connsiteY3" fmla="*/ 1875356 h 3066413"/>
              <a:gd name="connsiteX4" fmla="*/ 316559 w 3248298"/>
              <a:gd name="connsiteY4" fmla="*/ 1547872 h 3066413"/>
              <a:gd name="connsiteX5" fmla="*/ 49652 w 3248298"/>
              <a:gd name="connsiteY5" fmla="*/ 1220388 h 3066413"/>
              <a:gd name="connsiteX6" fmla="*/ 0 w 3248298"/>
              <a:gd name="connsiteY6" fmla="*/ 1215383 h 3066413"/>
              <a:gd name="connsiteX7" fmla="*/ 0 w 3248298"/>
              <a:gd name="connsiteY7" fmla="*/ 1209271 h 3066413"/>
              <a:gd name="connsiteX8" fmla="*/ 3248298 w 3248298"/>
              <a:gd name="connsiteY8" fmla="*/ 0 h 3066413"/>
              <a:gd name="connsiteX0" fmla="*/ 2968898 w 3248298"/>
              <a:gd name="connsiteY0" fmla="*/ 0 h 3256913"/>
              <a:gd name="connsiteX1" fmla="*/ 3248298 w 3248298"/>
              <a:gd name="connsiteY1" fmla="*/ 3256913 h 3256913"/>
              <a:gd name="connsiteX2" fmla="*/ 49081 w 3248298"/>
              <a:gd name="connsiteY2" fmla="*/ 2065914 h 3256913"/>
              <a:gd name="connsiteX3" fmla="*/ 49652 w 3248298"/>
              <a:gd name="connsiteY3" fmla="*/ 2065856 h 3256913"/>
              <a:gd name="connsiteX4" fmla="*/ 316559 w 3248298"/>
              <a:gd name="connsiteY4" fmla="*/ 1738372 h 3256913"/>
              <a:gd name="connsiteX5" fmla="*/ 49652 w 3248298"/>
              <a:gd name="connsiteY5" fmla="*/ 1410888 h 3256913"/>
              <a:gd name="connsiteX6" fmla="*/ 0 w 3248298"/>
              <a:gd name="connsiteY6" fmla="*/ 1405883 h 3256913"/>
              <a:gd name="connsiteX7" fmla="*/ 0 w 3248298"/>
              <a:gd name="connsiteY7" fmla="*/ 1399771 h 3256913"/>
              <a:gd name="connsiteX8" fmla="*/ 2968898 w 3248298"/>
              <a:gd name="connsiteY8" fmla="*/ 0 h 3256913"/>
              <a:gd name="connsiteX0" fmla="*/ 2968898 w 2968898"/>
              <a:gd name="connsiteY0" fmla="*/ 0 h 3066413"/>
              <a:gd name="connsiteX1" fmla="*/ 2879998 w 2968898"/>
              <a:gd name="connsiteY1" fmla="*/ 3066413 h 3066413"/>
              <a:gd name="connsiteX2" fmla="*/ 49081 w 2968898"/>
              <a:gd name="connsiteY2" fmla="*/ 2065914 h 3066413"/>
              <a:gd name="connsiteX3" fmla="*/ 49652 w 2968898"/>
              <a:gd name="connsiteY3" fmla="*/ 2065856 h 3066413"/>
              <a:gd name="connsiteX4" fmla="*/ 316559 w 2968898"/>
              <a:gd name="connsiteY4" fmla="*/ 1738372 h 3066413"/>
              <a:gd name="connsiteX5" fmla="*/ 49652 w 2968898"/>
              <a:gd name="connsiteY5" fmla="*/ 1410888 h 3066413"/>
              <a:gd name="connsiteX6" fmla="*/ 0 w 2968898"/>
              <a:gd name="connsiteY6" fmla="*/ 1405883 h 3066413"/>
              <a:gd name="connsiteX7" fmla="*/ 0 w 2968898"/>
              <a:gd name="connsiteY7" fmla="*/ 1399771 h 3066413"/>
              <a:gd name="connsiteX8" fmla="*/ 2968898 w 2968898"/>
              <a:gd name="connsiteY8" fmla="*/ 0 h 3066413"/>
              <a:gd name="connsiteX0" fmla="*/ 2968898 w 3032398"/>
              <a:gd name="connsiteY0" fmla="*/ 0 h 3079113"/>
              <a:gd name="connsiteX1" fmla="*/ 3032398 w 3032398"/>
              <a:gd name="connsiteY1" fmla="*/ 3079113 h 3079113"/>
              <a:gd name="connsiteX2" fmla="*/ 49081 w 3032398"/>
              <a:gd name="connsiteY2" fmla="*/ 2065914 h 3079113"/>
              <a:gd name="connsiteX3" fmla="*/ 49652 w 3032398"/>
              <a:gd name="connsiteY3" fmla="*/ 2065856 h 3079113"/>
              <a:gd name="connsiteX4" fmla="*/ 316559 w 3032398"/>
              <a:gd name="connsiteY4" fmla="*/ 1738372 h 3079113"/>
              <a:gd name="connsiteX5" fmla="*/ 49652 w 3032398"/>
              <a:gd name="connsiteY5" fmla="*/ 1410888 h 3079113"/>
              <a:gd name="connsiteX6" fmla="*/ 0 w 3032398"/>
              <a:gd name="connsiteY6" fmla="*/ 1405883 h 3079113"/>
              <a:gd name="connsiteX7" fmla="*/ 0 w 3032398"/>
              <a:gd name="connsiteY7" fmla="*/ 1399771 h 3079113"/>
              <a:gd name="connsiteX8" fmla="*/ 2968898 w 3032398"/>
              <a:gd name="connsiteY8" fmla="*/ 0 h 3079113"/>
              <a:gd name="connsiteX0" fmla="*/ 2930798 w 3032398"/>
              <a:gd name="connsiteY0" fmla="*/ 0 h 3091813"/>
              <a:gd name="connsiteX1" fmla="*/ 3032398 w 3032398"/>
              <a:gd name="connsiteY1" fmla="*/ 3091813 h 3091813"/>
              <a:gd name="connsiteX2" fmla="*/ 49081 w 3032398"/>
              <a:gd name="connsiteY2" fmla="*/ 2078614 h 3091813"/>
              <a:gd name="connsiteX3" fmla="*/ 49652 w 3032398"/>
              <a:gd name="connsiteY3" fmla="*/ 2078556 h 3091813"/>
              <a:gd name="connsiteX4" fmla="*/ 316559 w 3032398"/>
              <a:gd name="connsiteY4" fmla="*/ 1751072 h 3091813"/>
              <a:gd name="connsiteX5" fmla="*/ 49652 w 3032398"/>
              <a:gd name="connsiteY5" fmla="*/ 1423588 h 3091813"/>
              <a:gd name="connsiteX6" fmla="*/ 0 w 3032398"/>
              <a:gd name="connsiteY6" fmla="*/ 1418583 h 3091813"/>
              <a:gd name="connsiteX7" fmla="*/ 0 w 3032398"/>
              <a:gd name="connsiteY7" fmla="*/ 1412471 h 3091813"/>
              <a:gd name="connsiteX8" fmla="*/ 2930798 w 3032398"/>
              <a:gd name="connsiteY8" fmla="*/ 0 h 30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32398" h="3091813">
                <a:moveTo>
                  <a:pt x="2930798" y="0"/>
                </a:moveTo>
                <a:lnTo>
                  <a:pt x="3032398" y="3091813"/>
                </a:lnTo>
                <a:lnTo>
                  <a:pt x="49081" y="2078614"/>
                </a:lnTo>
                <a:lnTo>
                  <a:pt x="49652" y="2078556"/>
                </a:lnTo>
                <a:cubicBezTo>
                  <a:pt x="201976" y="2047386"/>
                  <a:pt x="316559" y="1912610"/>
                  <a:pt x="316559" y="1751072"/>
                </a:cubicBezTo>
                <a:cubicBezTo>
                  <a:pt x="316559" y="1589534"/>
                  <a:pt x="201976" y="1454758"/>
                  <a:pt x="49652" y="1423588"/>
                </a:cubicBezTo>
                <a:lnTo>
                  <a:pt x="0" y="1418583"/>
                </a:lnTo>
                <a:lnTo>
                  <a:pt x="0" y="1412471"/>
                </a:lnTo>
                <a:lnTo>
                  <a:pt x="2930798" y="0"/>
                </a:lnTo>
                <a:close/>
              </a:path>
            </a:pathLst>
          </a:custGeom>
          <a:gradFill flip="none" rotWithShape="1">
            <a:gsLst>
              <a:gs pos="21000">
                <a:schemeClr val="accent3">
                  <a:alpha val="77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 w="2857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871057">
              <a:defRPr/>
            </a:pPr>
            <a:endParaRPr lang="en-US" sz="1715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4C8A2316-6896-CFF9-4063-EA37DABCE4B7}"/>
              </a:ext>
            </a:extLst>
          </p:cNvPr>
          <p:cNvGrpSpPr/>
          <p:nvPr/>
        </p:nvGrpSpPr>
        <p:grpSpPr>
          <a:xfrm>
            <a:off x="4378831" y="2638125"/>
            <a:ext cx="697143" cy="526259"/>
            <a:chOff x="4891630" y="2839739"/>
            <a:chExt cx="836071" cy="626278"/>
          </a:xfrm>
        </p:grpSpPr>
        <p:sp>
          <p:nvSpPr>
            <p:cNvPr id="113" name="Right Triangle 112">
              <a:extLst>
                <a:ext uri="{FF2B5EF4-FFF2-40B4-BE49-F238E27FC236}">
                  <a16:creationId xmlns:a16="http://schemas.microsoft.com/office/drawing/2014/main" id="{AE75FE3E-0353-6A7D-1697-5118B04CD47F}"/>
                </a:ext>
              </a:extLst>
            </p:cNvPr>
            <p:cNvSpPr/>
            <p:nvPr/>
          </p:nvSpPr>
          <p:spPr>
            <a:xfrm rot="16200000">
              <a:off x="4868177" y="2863192"/>
              <a:ext cx="143201" cy="96295"/>
            </a:xfrm>
            <a:prstGeom prst="rtTriangle">
              <a:avLst/>
            </a:prstGeom>
            <a:solidFill>
              <a:schemeClr val="accent5"/>
            </a:solidFill>
            <a:ln w="9525" cap="rnd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1057">
                <a:defRPr/>
              </a:pPr>
              <a:endParaRPr lang="en-US" sz="1143" err="1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16" name="Right Triangle 115">
              <a:extLst>
                <a:ext uri="{FF2B5EF4-FFF2-40B4-BE49-F238E27FC236}">
                  <a16:creationId xmlns:a16="http://schemas.microsoft.com/office/drawing/2014/main" id="{4BF00545-A3B6-AD11-BFDF-F4CD4ED007E9}"/>
                </a:ext>
              </a:extLst>
            </p:cNvPr>
            <p:cNvSpPr/>
            <p:nvPr/>
          </p:nvSpPr>
          <p:spPr>
            <a:xfrm rot="5400000" flipH="1">
              <a:off x="5607953" y="2863192"/>
              <a:ext cx="143201" cy="96295"/>
            </a:xfrm>
            <a:prstGeom prst="rtTriangle">
              <a:avLst/>
            </a:prstGeom>
            <a:solidFill>
              <a:schemeClr val="accent5"/>
            </a:solidFill>
            <a:ln w="9525" cap="rnd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1057">
                <a:defRPr/>
              </a:pPr>
              <a:endParaRPr lang="en-US" sz="1143" err="1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17" name="Rectangle: Top Corners Rounded 116">
              <a:extLst>
                <a:ext uri="{FF2B5EF4-FFF2-40B4-BE49-F238E27FC236}">
                  <a16:creationId xmlns:a16="http://schemas.microsoft.com/office/drawing/2014/main" id="{C2403F63-F4E6-7DAE-A7ED-B40F19DC3FB7}"/>
                </a:ext>
              </a:extLst>
            </p:cNvPr>
            <p:cNvSpPr/>
            <p:nvPr/>
          </p:nvSpPr>
          <p:spPr>
            <a:xfrm flipV="1">
              <a:off x="4891630" y="3007842"/>
              <a:ext cx="836070" cy="458175"/>
            </a:xfrm>
            <a:prstGeom prst="round2Same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rnd" cmpd="sng" algn="ctr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1057">
                <a:defRPr/>
              </a:pPr>
              <a:endParaRPr lang="en-US" sz="1143" err="1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18" name="Rectangle: Top Corners Rounded 117">
              <a:extLst>
                <a:ext uri="{FF2B5EF4-FFF2-40B4-BE49-F238E27FC236}">
                  <a16:creationId xmlns:a16="http://schemas.microsoft.com/office/drawing/2014/main" id="{EF827EEE-FCC9-CF37-0CA3-BD2F199CE175}"/>
                </a:ext>
              </a:extLst>
            </p:cNvPr>
            <p:cNvSpPr/>
            <p:nvPr/>
          </p:nvSpPr>
          <p:spPr>
            <a:xfrm flipV="1">
              <a:off x="4891630" y="2972282"/>
              <a:ext cx="836070" cy="458175"/>
            </a:xfrm>
            <a:prstGeom prst="round2SameRect">
              <a:avLst/>
            </a:prstGeom>
            <a:solidFill>
              <a:schemeClr val="bg1"/>
            </a:solidFill>
            <a:ln w="9525" cap="rnd" cmpd="sng" algn="ctr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1057">
                <a:defRPr/>
              </a:pPr>
              <a:endParaRPr lang="en-US" sz="1143" err="1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1CE58FF-95D1-1858-4DF5-1338BE9A6F57}"/>
                </a:ext>
              </a:extLst>
            </p:cNvPr>
            <p:cNvSpPr txBox="1"/>
            <p:nvPr/>
          </p:nvSpPr>
          <p:spPr>
            <a:xfrm>
              <a:off x="4897969" y="3011042"/>
              <a:ext cx="823390" cy="3488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71057">
                <a:defRPr/>
              </a:pPr>
              <a:r>
                <a:rPr lang="en-IN" sz="1048" b="1">
                  <a:solidFill>
                    <a:srgbClr val="00B050"/>
                  </a:solidFill>
                  <a:latin typeface="Calibri" panose="020F0502020204030204" pitchFamily="34" charset="0"/>
                </a:rPr>
                <a:t>Discovered</a:t>
              </a:r>
              <a:r>
                <a:rPr lang="en-IN" sz="1048" b="1">
                  <a:solidFill>
                    <a:srgbClr val="000000"/>
                  </a:solidFill>
                  <a:latin typeface="Calibri" panose="020F0502020204030204" pitchFamily="34" charset="0"/>
                </a:rPr>
                <a:t>|</a:t>
              </a:r>
            </a:p>
            <a:p>
              <a:pPr algn="ctr" defTabSz="871057">
                <a:defRPr/>
              </a:pPr>
              <a:r>
                <a:rPr lang="en-IN" sz="857" b="1">
                  <a:solidFill>
                    <a:srgbClr val="5A5A5A"/>
                  </a:solidFill>
                  <a:latin typeface="Calibri" panose="020F0502020204030204" pitchFamily="34" charset="0"/>
                </a:rPr>
                <a:t>Undiscovered</a:t>
              </a:r>
              <a:endParaRPr lang="en-IN" sz="857" b="1">
                <a:solidFill>
                  <a:srgbClr val="5A5A5A"/>
                </a:solidFill>
                <a:latin typeface="Trebuchet MS"/>
              </a:endParaRP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7C8B3529-EA04-66DA-79D0-1348B1199FDA}"/>
              </a:ext>
            </a:extLst>
          </p:cNvPr>
          <p:cNvGrpSpPr/>
          <p:nvPr/>
        </p:nvGrpSpPr>
        <p:grpSpPr>
          <a:xfrm>
            <a:off x="3714946" y="2603350"/>
            <a:ext cx="656310" cy="570115"/>
            <a:chOff x="3859483" y="2839739"/>
            <a:chExt cx="836071" cy="626278"/>
          </a:xfrm>
        </p:grpSpPr>
        <p:sp>
          <p:nvSpPr>
            <p:cNvPr id="122" name="Right Triangle 121">
              <a:extLst>
                <a:ext uri="{FF2B5EF4-FFF2-40B4-BE49-F238E27FC236}">
                  <a16:creationId xmlns:a16="http://schemas.microsoft.com/office/drawing/2014/main" id="{52F6E9C9-C582-E005-25D4-D7EB8961592C}"/>
                </a:ext>
              </a:extLst>
            </p:cNvPr>
            <p:cNvSpPr/>
            <p:nvPr/>
          </p:nvSpPr>
          <p:spPr>
            <a:xfrm rot="16200000">
              <a:off x="3836030" y="2863192"/>
              <a:ext cx="143201" cy="96295"/>
            </a:xfrm>
            <a:prstGeom prst="rtTriangle">
              <a:avLst/>
            </a:prstGeom>
            <a:solidFill>
              <a:schemeClr val="accent5"/>
            </a:solidFill>
            <a:ln w="9525" cap="rnd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1057">
                <a:defRPr/>
              </a:pPr>
              <a:endParaRPr lang="en-US" sz="1143" err="1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23" name="Right Triangle 122">
              <a:extLst>
                <a:ext uri="{FF2B5EF4-FFF2-40B4-BE49-F238E27FC236}">
                  <a16:creationId xmlns:a16="http://schemas.microsoft.com/office/drawing/2014/main" id="{FD65FF84-153C-9CEB-4322-9F1805CB655F}"/>
                </a:ext>
              </a:extLst>
            </p:cNvPr>
            <p:cNvSpPr/>
            <p:nvPr/>
          </p:nvSpPr>
          <p:spPr>
            <a:xfrm rot="5400000" flipH="1">
              <a:off x="4575806" y="2863192"/>
              <a:ext cx="143201" cy="96295"/>
            </a:xfrm>
            <a:prstGeom prst="rtTriangle">
              <a:avLst/>
            </a:prstGeom>
            <a:solidFill>
              <a:schemeClr val="accent5"/>
            </a:solidFill>
            <a:ln w="9525" cap="rnd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1057">
                <a:defRPr/>
              </a:pPr>
              <a:endParaRPr lang="en-US" sz="1143" err="1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24" name="Rectangle: Top Corners Rounded 123">
              <a:extLst>
                <a:ext uri="{FF2B5EF4-FFF2-40B4-BE49-F238E27FC236}">
                  <a16:creationId xmlns:a16="http://schemas.microsoft.com/office/drawing/2014/main" id="{38A66356-AC6D-CE31-3029-89D211918106}"/>
                </a:ext>
              </a:extLst>
            </p:cNvPr>
            <p:cNvSpPr/>
            <p:nvPr/>
          </p:nvSpPr>
          <p:spPr>
            <a:xfrm flipV="1">
              <a:off x="3859483" y="3007842"/>
              <a:ext cx="836070" cy="458175"/>
            </a:xfrm>
            <a:prstGeom prst="round2Same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rnd" cmpd="sng" algn="ctr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1057">
                <a:defRPr/>
              </a:pPr>
              <a:endParaRPr lang="en-US" sz="1143" err="1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25" name="Rectangle: Top Corners Rounded 124">
              <a:extLst>
                <a:ext uri="{FF2B5EF4-FFF2-40B4-BE49-F238E27FC236}">
                  <a16:creationId xmlns:a16="http://schemas.microsoft.com/office/drawing/2014/main" id="{ED6237AC-C450-4C50-310C-378BA65B6F91}"/>
                </a:ext>
              </a:extLst>
            </p:cNvPr>
            <p:cNvSpPr/>
            <p:nvPr/>
          </p:nvSpPr>
          <p:spPr>
            <a:xfrm flipV="1">
              <a:off x="3859483" y="2972282"/>
              <a:ext cx="836070" cy="458175"/>
            </a:xfrm>
            <a:prstGeom prst="round2SameRect">
              <a:avLst/>
            </a:prstGeom>
            <a:solidFill>
              <a:schemeClr val="bg1"/>
            </a:solidFill>
            <a:ln w="9525" cap="rnd" cmpd="sng" algn="ctr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1057">
                <a:defRPr/>
              </a:pPr>
              <a:endParaRPr lang="en-US" sz="1143" err="1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D9CA232F-457F-D86F-116B-93C8F68B10F7}"/>
                </a:ext>
              </a:extLst>
            </p:cNvPr>
            <p:cNvSpPr txBox="1"/>
            <p:nvPr/>
          </p:nvSpPr>
          <p:spPr>
            <a:xfrm>
              <a:off x="3865824" y="3011042"/>
              <a:ext cx="823391" cy="3542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71057">
                <a:defRPr/>
              </a:pPr>
              <a:r>
                <a:rPr lang="en-US" sz="1048" b="1">
                  <a:solidFill>
                    <a:srgbClr val="FFD700"/>
                  </a:solidFill>
                  <a:latin typeface="Calibri" panose="020F0502020204030204" pitchFamily="34" charset="0"/>
                </a:rPr>
                <a:t>Deep</a:t>
              </a:r>
              <a:r>
                <a:rPr lang="en-IN" sz="1048" b="1">
                  <a:solidFill>
                    <a:srgbClr val="FF9933"/>
                  </a:solidFill>
                  <a:latin typeface="Calibri" panose="020F0502020204030204" pitchFamily="34" charset="0"/>
                </a:rPr>
                <a:t> </a:t>
              </a:r>
              <a:r>
                <a:rPr lang="en-IN" sz="1048" b="1">
                  <a:solidFill>
                    <a:srgbClr val="000000"/>
                  </a:solidFill>
                  <a:latin typeface="Calibri" panose="020F0502020204030204" pitchFamily="34" charset="0"/>
                </a:rPr>
                <a:t>| </a:t>
              </a:r>
              <a:r>
                <a:rPr lang="en-IN" sz="1048" b="1">
                  <a:solidFill>
                    <a:srgbClr val="B6C2FE"/>
                  </a:solidFill>
                  <a:latin typeface="Calibri" panose="020F0502020204030204" pitchFamily="34" charset="0"/>
                </a:rPr>
                <a:t>Shallow</a:t>
              </a:r>
              <a:endParaRPr lang="en-IN" sz="1048" b="1">
                <a:solidFill>
                  <a:srgbClr val="B6C2FE"/>
                </a:solidFill>
                <a:latin typeface="Trebuchet MS"/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336A6EC2-B76D-05E1-FD2B-F85BD6A9D696}"/>
              </a:ext>
            </a:extLst>
          </p:cNvPr>
          <p:cNvGrpSpPr/>
          <p:nvPr/>
        </p:nvGrpSpPr>
        <p:grpSpPr>
          <a:xfrm>
            <a:off x="2972429" y="2662322"/>
            <a:ext cx="739481" cy="505088"/>
            <a:chOff x="2820464" y="2839739"/>
            <a:chExt cx="836071" cy="626278"/>
          </a:xfrm>
        </p:grpSpPr>
        <p:sp>
          <p:nvSpPr>
            <p:cNvPr id="128" name="Right Triangle 127">
              <a:extLst>
                <a:ext uri="{FF2B5EF4-FFF2-40B4-BE49-F238E27FC236}">
                  <a16:creationId xmlns:a16="http://schemas.microsoft.com/office/drawing/2014/main" id="{965231DC-4C6E-D60D-DBB5-A8F2D922331E}"/>
                </a:ext>
              </a:extLst>
            </p:cNvPr>
            <p:cNvSpPr/>
            <p:nvPr/>
          </p:nvSpPr>
          <p:spPr>
            <a:xfrm rot="16200000">
              <a:off x="2797011" y="2863192"/>
              <a:ext cx="143201" cy="96295"/>
            </a:xfrm>
            <a:prstGeom prst="rtTriangle">
              <a:avLst/>
            </a:prstGeom>
            <a:solidFill>
              <a:schemeClr val="accent5"/>
            </a:solidFill>
            <a:ln w="9525" cap="rnd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1057">
                <a:defRPr/>
              </a:pPr>
              <a:endParaRPr lang="en-US" sz="1143" err="1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29" name="Right Triangle 128">
              <a:extLst>
                <a:ext uri="{FF2B5EF4-FFF2-40B4-BE49-F238E27FC236}">
                  <a16:creationId xmlns:a16="http://schemas.microsoft.com/office/drawing/2014/main" id="{B4239005-7E59-573A-2B6B-89E56A9E0D91}"/>
                </a:ext>
              </a:extLst>
            </p:cNvPr>
            <p:cNvSpPr/>
            <p:nvPr/>
          </p:nvSpPr>
          <p:spPr>
            <a:xfrm rot="5400000" flipH="1">
              <a:off x="3536787" y="2863192"/>
              <a:ext cx="143201" cy="96295"/>
            </a:xfrm>
            <a:prstGeom prst="rtTriangle">
              <a:avLst/>
            </a:prstGeom>
            <a:solidFill>
              <a:schemeClr val="accent5"/>
            </a:solidFill>
            <a:ln w="9525" cap="rnd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1057">
                <a:defRPr/>
              </a:pPr>
              <a:endParaRPr lang="en-US" sz="1143" err="1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30" name="Rectangle: Top Corners Rounded 129">
              <a:extLst>
                <a:ext uri="{FF2B5EF4-FFF2-40B4-BE49-F238E27FC236}">
                  <a16:creationId xmlns:a16="http://schemas.microsoft.com/office/drawing/2014/main" id="{41CA8231-A4D0-FEE6-D777-630D8CFB4365}"/>
                </a:ext>
              </a:extLst>
            </p:cNvPr>
            <p:cNvSpPr/>
            <p:nvPr/>
          </p:nvSpPr>
          <p:spPr>
            <a:xfrm flipV="1">
              <a:off x="2820464" y="3007842"/>
              <a:ext cx="836070" cy="458175"/>
            </a:xfrm>
            <a:prstGeom prst="round2Same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rnd" cmpd="sng" algn="ctr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1057">
                <a:defRPr/>
              </a:pPr>
              <a:endParaRPr lang="en-US" sz="1143" err="1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31" name="Rectangle: Top Corners Rounded 130">
              <a:extLst>
                <a:ext uri="{FF2B5EF4-FFF2-40B4-BE49-F238E27FC236}">
                  <a16:creationId xmlns:a16="http://schemas.microsoft.com/office/drawing/2014/main" id="{2841450A-4DDF-0ACF-575B-E00073BB42AC}"/>
                </a:ext>
              </a:extLst>
            </p:cNvPr>
            <p:cNvSpPr/>
            <p:nvPr/>
          </p:nvSpPr>
          <p:spPr>
            <a:xfrm flipV="1">
              <a:off x="2820464" y="2972282"/>
              <a:ext cx="836070" cy="458175"/>
            </a:xfrm>
            <a:prstGeom prst="round2SameRect">
              <a:avLst/>
            </a:prstGeom>
            <a:solidFill>
              <a:schemeClr val="bg1"/>
            </a:solidFill>
            <a:ln w="9525" cap="rnd" cmpd="sng" algn="ctr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1057">
                <a:defRPr/>
              </a:pPr>
              <a:endParaRPr lang="en-US" sz="1143" err="1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A045282D-BC97-0CD3-0373-B8411228FA44}"/>
                </a:ext>
              </a:extLst>
            </p:cNvPr>
            <p:cNvSpPr txBox="1"/>
            <p:nvPr/>
          </p:nvSpPr>
          <p:spPr>
            <a:xfrm>
              <a:off x="2826805" y="3011041"/>
              <a:ext cx="823390" cy="3999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871057">
                <a:defRPr/>
              </a:pPr>
              <a:r>
                <a:rPr lang="en-US" sz="1048" b="1" err="1">
                  <a:solidFill>
                    <a:srgbClr val="FF9933"/>
                  </a:solidFill>
                  <a:latin typeface="Calibri" panose="020F0502020204030204" pitchFamily="34" charset="0"/>
                </a:rPr>
                <a:t>Onland</a:t>
              </a:r>
              <a:r>
                <a:rPr lang="en-IN" sz="1048" b="1">
                  <a:solidFill>
                    <a:srgbClr val="FF9933"/>
                  </a:solidFill>
                  <a:latin typeface="Calibri" panose="020F0502020204030204" pitchFamily="34" charset="0"/>
                </a:rPr>
                <a:t> </a:t>
              </a:r>
              <a:r>
                <a:rPr lang="en-IN" sz="1048" b="1">
                  <a:solidFill>
                    <a:srgbClr val="000000"/>
                  </a:solidFill>
                  <a:latin typeface="Calibri" panose="020F0502020204030204" pitchFamily="34" charset="0"/>
                </a:rPr>
                <a:t>| </a:t>
              </a:r>
              <a:br>
                <a:rPr lang="en-IN" sz="1048" b="1">
                  <a:solidFill>
                    <a:srgbClr val="000000"/>
                  </a:solidFill>
                  <a:latin typeface="Calibri" panose="020F0502020204030204" pitchFamily="34" charset="0"/>
                </a:rPr>
              </a:br>
              <a:r>
                <a:rPr lang="en-IN" sz="1048" b="1">
                  <a:solidFill>
                    <a:srgbClr val="264796"/>
                  </a:solidFill>
                  <a:latin typeface="Calibri" panose="020F0502020204030204" pitchFamily="34" charset="0"/>
                </a:rPr>
                <a:t>Offshore</a:t>
              </a:r>
              <a:endParaRPr lang="en-IN" sz="1048" b="1">
                <a:solidFill>
                  <a:srgbClr val="264796"/>
                </a:solidFill>
                <a:latin typeface="Trebuchet MS"/>
              </a:endParaRPr>
            </a:p>
          </p:txBody>
        </p:sp>
      </p:grpSp>
      <p:sp>
        <p:nvSpPr>
          <p:cNvPr id="149" name="Rectangle 148">
            <a:extLst>
              <a:ext uri="{FF2B5EF4-FFF2-40B4-BE49-F238E27FC236}">
                <a16:creationId xmlns:a16="http://schemas.microsoft.com/office/drawing/2014/main" id="{33F7E336-6C7A-77C2-9807-4A97F018A3A5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3395869" y="6451853"/>
            <a:ext cx="170883" cy="127028"/>
          </a:xfrm>
          <a:prstGeom prst="rect">
            <a:avLst/>
          </a:prstGeom>
          <a:solidFill>
            <a:srgbClr val="5A5A5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6479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endParaRPr lang="en-US" sz="1143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68BBE21E-966A-BA11-1849-2664E4C16401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1851873" y="6451853"/>
            <a:ext cx="170883" cy="127028"/>
          </a:xfrm>
          <a:prstGeom prst="rect">
            <a:avLst/>
          </a:prstGeom>
          <a:solidFill>
            <a:srgbClr val="32B84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endParaRPr lang="en-US" sz="1143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44" name="Text Placeholder 3">
            <a:extLst>
              <a:ext uri="{FF2B5EF4-FFF2-40B4-BE49-F238E27FC236}">
                <a16:creationId xmlns:a16="http://schemas.microsoft.com/office/drawing/2014/main" id="{B7D255C0-7484-C007-585C-44B8A60C459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071148" y="6436732"/>
            <a:ext cx="1227937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871057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53" dirty="0" err="1">
                <a:latin typeface="Trebuchet MS"/>
              </a:rPr>
              <a:t>Discovered_MMTOE</a:t>
            </a:r>
            <a:endParaRPr lang="en-US" sz="953" dirty="0">
              <a:latin typeface="Trebuchet MS"/>
            </a:endParaRPr>
          </a:p>
        </p:txBody>
      </p:sp>
      <p:sp>
        <p:nvSpPr>
          <p:cNvPr id="138" name="Text Placeholder 3">
            <a:extLst>
              <a:ext uri="{FF2B5EF4-FFF2-40B4-BE49-F238E27FC236}">
                <a16:creationId xmlns:a16="http://schemas.microsoft.com/office/drawing/2014/main" id="{0FB306E0-0C36-95B4-BAEB-F73C302BF11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615143" y="6436732"/>
            <a:ext cx="1749660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871057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53" dirty="0">
                <a:latin typeface="Trebuchet MS"/>
              </a:rPr>
              <a:t>Undiscovered_MMTOE</a:t>
            </a:r>
            <a:endParaRPr lang="en-US" sz="953" dirty="0">
              <a:latin typeface="Trebuchet MS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400B6619-8FAB-4FEC-AD4B-5061A2638B14}"/>
              </a:ext>
            </a:extLst>
          </p:cNvPr>
          <p:cNvSpPr txBox="1"/>
          <p:nvPr/>
        </p:nvSpPr>
        <p:spPr>
          <a:xfrm>
            <a:off x="6419381" y="4285718"/>
            <a:ext cx="4654801" cy="23455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241294" indent="-241294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  <a:defRPr sz="1400"/>
            </a:lvl1pPr>
          </a:lstStyle>
          <a:p>
            <a:pPr marL="102881" lvl="1" algn="ctr" defTabSz="871057">
              <a:spcAft>
                <a:spcPts val="286"/>
              </a:spcAft>
              <a:buClr>
                <a:prstClr val="white"/>
              </a:buClr>
              <a:defRPr/>
            </a:pPr>
            <a:r>
              <a:rPr lang="en-US" sz="1524" b="1" dirty="0">
                <a:solidFill>
                  <a:srgbClr val="FFD700"/>
                </a:solidFill>
                <a:latin typeface="Trebuchet MS"/>
              </a:rPr>
              <a:t>Key characteristics</a:t>
            </a:r>
          </a:p>
        </p:txBody>
      </p: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A75849E3-C435-4890-9528-F303FEA30334}"/>
              </a:ext>
            </a:extLst>
          </p:cNvPr>
          <p:cNvCxnSpPr>
            <a:cxnSpLocks/>
          </p:cNvCxnSpPr>
          <p:nvPr/>
        </p:nvCxnSpPr>
        <p:spPr>
          <a:xfrm flipH="1">
            <a:off x="6526219" y="4586392"/>
            <a:ext cx="4654802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TextBox 153">
            <a:extLst>
              <a:ext uri="{FF2B5EF4-FFF2-40B4-BE49-F238E27FC236}">
                <a16:creationId xmlns:a16="http://schemas.microsoft.com/office/drawing/2014/main" id="{A1013DF7-BD3C-48BB-9714-721AD445302B}"/>
              </a:ext>
            </a:extLst>
          </p:cNvPr>
          <p:cNvSpPr txBox="1"/>
          <p:nvPr/>
        </p:nvSpPr>
        <p:spPr>
          <a:xfrm>
            <a:off x="860991" y="686376"/>
            <a:ext cx="5102352" cy="50292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en-US" sz="1715" b="1" dirty="0">
                <a:solidFill>
                  <a:srgbClr val="BCF6D3"/>
                </a:solidFill>
                <a:latin typeface="Trebuchet MS"/>
              </a:rPr>
              <a:t>Significant sub-basalt Mesozoic discovery</a:t>
            </a:r>
          </a:p>
        </p:txBody>
      </p: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809AA103-C266-498B-9A2F-02A848F73FD1}"/>
              </a:ext>
            </a:extLst>
          </p:cNvPr>
          <p:cNvCxnSpPr/>
          <p:nvPr/>
        </p:nvCxnSpPr>
        <p:spPr>
          <a:xfrm>
            <a:off x="31554" y="579604"/>
            <a:ext cx="12124944" cy="0"/>
          </a:xfrm>
          <a:prstGeom prst="line">
            <a:avLst/>
          </a:prstGeom>
          <a:ln w="101600" cap="rnd" cmpd="thinThick">
            <a:solidFill>
              <a:schemeClr val="tx2">
                <a:lumMod val="5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TextBox 162">
            <a:extLst>
              <a:ext uri="{FF2B5EF4-FFF2-40B4-BE49-F238E27FC236}">
                <a16:creationId xmlns:a16="http://schemas.microsoft.com/office/drawing/2014/main" id="{781955F6-6C27-4620-9FC3-7C90C575E555}"/>
              </a:ext>
            </a:extLst>
          </p:cNvPr>
          <p:cNvSpPr txBox="1"/>
          <p:nvPr/>
        </p:nvSpPr>
        <p:spPr>
          <a:xfrm>
            <a:off x="4051029" y="145886"/>
            <a:ext cx="4094050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>
            <a:spAutoFit/>
          </a:bodyPr>
          <a:lstStyle/>
          <a:p>
            <a:pPr algn="ctr" defTabSz="871057">
              <a:defRPr/>
            </a:pPr>
            <a:r>
              <a:rPr lang="en-US" sz="2400" b="1" dirty="0">
                <a:solidFill>
                  <a:srgbClr val="000066"/>
                </a:solidFill>
                <a:latin typeface="Trebuchet MS"/>
              </a:rPr>
              <a:t>Saurashtra Basi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EE64A4A-4188-46A9-BD06-C67B87F43905}"/>
              </a:ext>
            </a:extLst>
          </p:cNvPr>
          <p:cNvGrpSpPr/>
          <p:nvPr/>
        </p:nvGrpSpPr>
        <p:grpSpPr>
          <a:xfrm>
            <a:off x="5878420" y="3570490"/>
            <a:ext cx="853028" cy="144646"/>
            <a:chOff x="6167437" y="3541912"/>
            <a:chExt cx="853028" cy="144646"/>
          </a:xfrm>
        </p:grpSpPr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E11FEB4D-01F5-4467-9FBB-459D0B97D279}"/>
                </a:ext>
              </a:extLst>
            </p:cNvPr>
            <p:cNvSpPr txBox="1"/>
            <p:nvPr/>
          </p:nvSpPr>
          <p:spPr>
            <a:xfrm>
              <a:off x="6233067" y="3541912"/>
              <a:ext cx="787398" cy="14464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b="1" dirty="0">
                  <a:solidFill>
                    <a:srgbClr val="000000"/>
                  </a:solidFill>
                </a:rPr>
                <a:t>Gas Discovery</a:t>
              </a:r>
            </a:p>
          </p:txBody>
        </p:sp>
        <p:sp>
          <p:nvSpPr>
            <p:cNvPr id="162" name="Star: 5 Points 161">
              <a:extLst>
                <a:ext uri="{FF2B5EF4-FFF2-40B4-BE49-F238E27FC236}">
                  <a16:creationId xmlns:a16="http://schemas.microsoft.com/office/drawing/2014/main" id="{D3FB4C40-511E-4AF1-A132-8EF9379CC62A}"/>
                </a:ext>
              </a:extLst>
            </p:cNvPr>
            <p:cNvSpPr/>
            <p:nvPr/>
          </p:nvSpPr>
          <p:spPr>
            <a:xfrm>
              <a:off x="6167437" y="3554609"/>
              <a:ext cx="109728" cy="109728"/>
            </a:xfrm>
            <a:prstGeom prst="star5">
              <a:avLst/>
            </a:prstGeom>
            <a:solidFill>
              <a:srgbClr val="FF505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62ADA9CC-E3CB-4A77-86DD-088E1249962F}"/>
              </a:ext>
            </a:extLst>
          </p:cNvPr>
          <p:cNvSpPr txBox="1"/>
          <p:nvPr/>
        </p:nvSpPr>
        <p:spPr>
          <a:xfrm>
            <a:off x="8596158" y="3316682"/>
            <a:ext cx="1473480" cy="26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71057">
              <a:defRPr/>
            </a:pPr>
            <a:r>
              <a:rPr lang="sv-SE" sz="1143" dirty="0">
                <a:solidFill>
                  <a:srgbClr val="FFFF00"/>
                </a:solidFill>
                <a:latin typeface="Trebuchet MS"/>
              </a:rPr>
              <a:t>Area| 11,039 sq km</a:t>
            </a:r>
          </a:p>
        </p:txBody>
      </p:sp>
      <p:pic>
        <p:nvPicPr>
          <p:cNvPr id="173" name="Picture 172">
            <a:extLst>
              <a:ext uri="{FF2B5EF4-FFF2-40B4-BE49-F238E27FC236}">
                <a16:creationId xmlns:a16="http://schemas.microsoft.com/office/drawing/2014/main" id="{254BCD66-DF70-4927-8DD5-F1D22598F0BD}"/>
              </a:ext>
            </a:extLst>
          </p:cNvPr>
          <p:cNvPicPr>
            <a:picLocks noChangeAspect="1"/>
          </p:cNvPicPr>
          <p:nvPr/>
        </p:nvPicPr>
        <p:blipFill rotWithShape="1"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6" t="3657" r="4846" b="6625"/>
          <a:stretch/>
        </p:blipFill>
        <p:spPr>
          <a:xfrm>
            <a:off x="7080561" y="1405480"/>
            <a:ext cx="2919238" cy="2239420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174" name="Group 173">
            <a:extLst>
              <a:ext uri="{FF2B5EF4-FFF2-40B4-BE49-F238E27FC236}">
                <a16:creationId xmlns:a16="http://schemas.microsoft.com/office/drawing/2014/main" id="{879933F6-9E50-4CEC-A0FB-FFFAE8400AA8}"/>
              </a:ext>
            </a:extLst>
          </p:cNvPr>
          <p:cNvGrpSpPr/>
          <p:nvPr/>
        </p:nvGrpSpPr>
        <p:grpSpPr>
          <a:xfrm>
            <a:off x="5878420" y="3570490"/>
            <a:ext cx="853028" cy="144646"/>
            <a:chOff x="6167437" y="3541912"/>
            <a:chExt cx="853028" cy="144646"/>
          </a:xfrm>
        </p:grpSpPr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659564AC-FA5E-465C-812C-D3122B8BA994}"/>
                </a:ext>
              </a:extLst>
            </p:cNvPr>
            <p:cNvSpPr txBox="1"/>
            <p:nvPr/>
          </p:nvSpPr>
          <p:spPr>
            <a:xfrm>
              <a:off x="6233067" y="3541912"/>
              <a:ext cx="787398" cy="14464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b="1" dirty="0">
                  <a:solidFill>
                    <a:srgbClr val="000000"/>
                  </a:solidFill>
                </a:rPr>
                <a:t>Gas Discovery</a:t>
              </a:r>
            </a:p>
          </p:txBody>
        </p:sp>
        <p:sp>
          <p:nvSpPr>
            <p:cNvPr id="176" name="Star: 5 Points 175">
              <a:extLst>
                <a:ext uri="{FF2B5EF4-FFF2-40B4-BE49-F238E27FC236}">
                  <a16:creationId xmlns:a16="http://schemas.microsoft.com/office/drawing/2014/main" id="{ADA99D6E-08DD-4233-85C0-B3C609E90A25}"/>
                </a:ext>
              </a:extLst>
            </p:cNvPr>
            <p:cNvSpPr/>
            <p:nvPr/>
          </p:nvSpPr>
          <p:spPr>
            <a:xfrm>
              <a:off x="6167437" y="3554609"/>
              <a:ext cx="109728" cy="109728"/>
            </a:xfrm>
            <a:prstGeom prst="star5">
              <a:avLst/>
            </a:prstGeom>
            <a:solidFill>
              <a:srgbClr val="FF5050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177" name="TextBox 176">
            <a:extLst>
              <a:ext uri="{FF2B5EF4-FFF2-40B4-BE49-F238E27FC236}">
                <a16:creationId xmlns:a16="http://schemas.microsoft.com/office/drawing/2014/main" id="{E7B9635B-D403-4551-B1C5-4CD3C47DC236}"/>
              </a:ext>
            </a:extLst>
          </p:cNvPr>
          <p:cNvSpPr txBox="1"/>
          <p:nvPr/>
        </p:nvSpPr>
        <p:spPr>
          <a:xfrm>
            <a:off x="9473155" y="2487044"/>
            <a:ext cx="255315" cy="15108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871057"/>
            <a:r>
              <a:rPr lang="en-US" sz="1715" dirty="0">
                <a:solidFill>
                  <a:prstClr val="white"/>
                </a:solidFill>
              </a:rPr>
              <a:t>2</a:t>
            </a:r>
          </a:p>
        </p:txBody>
      </p:sp>
      <p:cxnSp>
        <p:nvCxnSpPr>
          <p:cNvPr id="178" name="Straight Arrow Connector 177">
            <a:extLst>
              <a:ext uri="{FF2B5EF4-FFF2-40B4-BE49-F238E27FC236}">
                <a16:creationId xmlns:a16="http://schemas.microsoft.com/office/drawing/2014/main" id="{76667B50-6EA6-4676-A57A-96738D7F632E}"/>
              </a:ext>
            </a:extLst>
          </p:cNvPr>
          <p:cNvCxnSpPr/>
          <p:nvPr/>
        </p:nvCxnSpPr>
        <p:spPr>
          <a:xfrm>
            <a:off x="9132257" y="2081695"/>
            <a:ext cx="1166980" cy="0"/>
          </a:xfrm>
          <a:prstGeom prst="straightConnector1">
            <a:avLst/>
          </a:prstGeom>
          <a:ln w="9525" cap="rnd">
            <a:solidFill>
              <a:srgbClr val="92D050"/>
            </a:solidFill>
            <a:prstDash val="solid"/>
            <a:round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Rectangle 178">
            <a:extLst>
              <a:ext uri="{FF2B5EF4-FFF2-40B4-BE49-F238E27FC236}">
                <a16:creationId xmlns:a16="http://schemas.microsoft.com/office/drawing/2014/main" id="{796D9709-CFB5-40D4-A59D-4DB6B127A750}"/>
              </a:ext>
            </a:extLst>
          </p:cNvPr>
          <p:cNvSpPr/>
          <p:nvPr/>
        </p:nvSpPr>
        <p:spPr>
          <a:xfrm>
            <a:off x="10339181" y="1966613"/>
            <a:ext cx="1124027" cy="245516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txBody>
          <a:bodyPr wrap="none">
            <a:spAutoFit/>
          </a:bodyPr>
          <a:lstStyle/>
          <a:p>
            <a:pPr algn="ctr" defTabSz="871057">
              <a:lnSpc>
                <a:spcPct val="95000"/>
              </a:lnSpc>
              <a:defRPr/>
            </a:pPr>
            <a:r>
              <a:rPr lang="it-IT" sz="1048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S-OSHP-2022/1</a:t>
            </a:r>
          </a:p>
        </p:txBody>
      </p:sp>
      <p:cxnSp>
        <p:nvCxnSpPr>
          <p:cNvPr id="180" name="Straight Arrow Connector 179">
            <a:extLst>
              <a:ext uri="{FF2B5EF4-FFF2-40B4-BE49-F238E27FC236}">
                <a16:creationId xmlns:a16="http://schemas.microsoft.com/office/drawing/2014/main" id="{8B6248E5-1411-429B-8A13-AEA6503E327A}"/>
              </a:ext>
            </a:extLst>
          </p:cNvPr>
          <p:cNvCxnSpPr/>
          <p:nvPr/>
        </p:nvCxnSpPr>
        <p:spPr>
          <a:xfrm>
            <a:off x="9909546" y="2716835"/>
            <a:ext cx="528816" cy="0"/>
          </a:xfrm>
          <a:prstGeom prst="straightConnector1">
            <a:avLst/>
          </a:prstGeom>
          <a:ln w="9525" cap="rnd">
            <a:solidFill>
              <a:srgbClr val="92D050"/>
            </a:solidFill>
            <a:prstDash val="solid"/>
            <a:round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Rectangle 180">
            <a:extLst>
              <a:ext uri="{FF2B5EF4-FFF2-40B4-BE49-F238E27FC236}">
                <a16:creationId xmlns:a16="http://schemas.microsoft.com/office/drawing/2014/main" id="{4B4438FB-41CA-4ED8-B63C-CB17778E8146}"/>
              </a:ext>
            </a:extLst>
          </p:cNvPr>
          <p:cNvSpPr/>
          <p:nvPr/>
        </p:nvSpPr>
        <p:spPr>
          <a:xfrm>
            <a:off x="10448062" y="2592680"/>
            <a:ext cx="1124027" cy="245516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txBody>
          <a:bodyPr wrap="none">
            <a:spAutoFit/>
          </a:bodyPr>
          <a:lstStyle/>
          <a:p>
            <a:pPr algn="ctr" defTabSz="871057">
              <a:lnSpc>
                <a:spcPct val="95000"/>
              </a:lnSpc>
              <a:defRPr/>
            </a:pPr>
            <a:r>
              <a:rPr lang="it-IT" sz="1048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S-OSHP-2022/2</a:t>
            </a:r>
          </a:p>
        </p:txBody>
      </p:sp>
      <p:sp>
        <p:nvSpPr>
          <p:cNvPr id="182" name="Star: 5 Points 181">
            <a:extLst>
              <a:ext uri="{FF2B5EF4-FFF2-40B4-BE49-F238E27FC236}">
                <a16:creationId xmlns:a16="http://schemas.microsoft.com/office/drawing/2014/main" id="{3171908D-2FEB-41EE-B8F4-46CCCF2A42DB}"/>
              </a:ext>
            </a:extLst>
          </p:cNvPr>
          <p:cNvSpPr>
            <a:spLocks noChangeAspect="1"/>
          </p:cNvSpPr>
          <p:nvPr/>
        </p:nvSpPr>
        <p:spPr>
          <a:xfrm>
            <a:off x="8623890" y="2008963"/>
            <a:ext cx="102880" cy="102880"/>
          </a:xfrm>
          <a:prstGeom prst="star5">
            <a:avLst/>
          </a:prstGeom>
          <a:solidFill>
            <a:srgbClr val="FF656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/>
            <a:endParaRPr lang="en-IN" sz="1143" dirty="0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8DDC6B3C-134C-476B-B9BA-80641286B022}"/>
              </a:ext>
            </a:extLst>
          </p:cNvPr>
          <p:cNvSpPr txBox="1"/>
          <p:nvPr/>
        </p:nvSpPr>
        <p:spPr>
          <a:xfrm>
            <a:off x="8480631" y="1893287"/>
            <a:ext cx="574196" cy="1655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71057"/>
            <a:r>
              <a:rPr lang="en-US" sz="476" b="1" dirty="0">
                <a:solidFill>
                  <a:srgbClr val="203864">
                    <a:lumMod val="20000"/>
                    <a:lumOff val="80000"/>
                  </a:srgbClr>
                </a:solidFill>
                <a:latin typeface="Trebuchet MS"/>
              </a:rPr>
              <a:t>Gas Discovery</a:t>
            </a:r>
            <a:endParaRPr lang="en-IN" sz="476" b="1" dirty="0">
              <a:solidFill>
                <a:srgbClr val="203864">
                  <a:lumMod val="20000"/>
                  <a:lumOff val="80000"/>
                </a:srgbClr>
              </a:solidFill>
              <a:latin typeface="Trebuchet MS"/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C1C1D7A8-C07D-43AC-AAB6-AFF9A05657D8}"/>
              </a:ext>
            </a:extLst>
          </p:cNvPr>
          <p:cNvSpPr txBox="1"/>
          <p:nvPr/>
        </p:nvSpPr>
        <p:spPr>
          <a:xfrm>
            <a:off x="8871544" y="1938290"/>
            <a:ext cx="206072" cy="15108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/>
            <a:r>
              <a:rPr lang="en-US" sz="1715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0347290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2FC63-A727-4368-8B72-45B4FFDE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2575"/>
            <a:ext cx="10515600" cy="610919"/>
          </a:xfrm>
        </p:spPr>
        <p:txBody>
          <a:bodyPr>
            <a:normAutofit/>
          </a:bodyPr>
          <a:lstStyle/>
          <a:p>
            <a:r>
              <a:rPr lang="en-IN" sz="28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an Sedimentary Basins and Categori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6C39DA1-27E7-4015-B300-375421D03DBE}"/>
              </a:ext>
            </a:extLst>
          </p:cNvPr>
          <p:cNvCxnSpPr>
            <a:cxnSpLocks/>
          </p:cNvCxnSpPr>
          <p:nvPr/>
        </p:nvCxnSpPr>
        <p:spPr>
          <a:xfrm>
            <a:off x="740024" y="829688"/>
            <a:ext cx="10904560" cy="34473"/>
          </a:xfrm>
          <a:prstGeom prst="line">
            <a:avLst/>
          </a:prstGeom>
          <a:ln w="38100">
            <a:solidFill>
              <a:srgbClr val="00808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62" name="Picture 61">
            <a:extLst>
              <a:ext uri="{FF2B5EF4-FFF2-40B4-BE49-F238E27FC236}">
                <a16:creationId xmlns:a16="http://schemas.microsoft.com/office/drawing/2014/main" id="{3C2101D9-D9D3-4B89-886D-DDFD80CC90A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8" y="1011608"/>
            <a:ext cx="4427890" cy="446380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FDBBE423-957B-4A4A-85B9-3E71388C4FD8}"/>
              </a:ext>
            </a:extLst>
          </p:cNvPr>
          <p:cNvSpPr/>
          <p:nvPr/>
        </p:nvSpPr>
        <p:spPr>
          <a:xfrm>
            <a:off x="2628773" y="893494"/>
            <a:ext cx="1216905" cy="10227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3" name="Chart 62">
            <a:extLst>
              <a:ext uri="{FF2B5EF4-FFF2-40B4-BE49-F238E27FC236}">
                <a16:creationId xmlns:a16="http://schemas.microsoft.com/office/drawing/2014/main" id="{BEC01254-D40E-4E6B-9A0A-9928CD778085}"/>
              </a:ext>
            </a:extLst>
          </p:cNvPr>
          <p:cNvGraphicFramePr>
            <a:graphicFrameLocks/>
          </p:cNvGraphicFramePr>
          <p:nvPr/>
        </p:nvGraphicFramePr>
        <p:xfrm>
          <a:off x="8643983" y="1890565"/>
          <a:ext cx="3419313" cy="23116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66380DD7-6090-4E60-ACCC-D58E65EBEA1B}"/>
              </a:ext>
            </a:extLst>
          </p:cNvPr>
          <p:cNvSpPr/>
          <p:nvPr/>
        </p:nvSpPr>
        <p:spPr>
          <a:xfrm>
            <a:off x="8761760" y="1691990"/>
            <a:ext cx="3111062" cy="411101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EDA931-45BF-4E86-98A6-33033CED243B}"/>
              </a:ext>
            </a:extLst>
          </p:cNvPr>
          <p:cNvSpPr txBox="1"/>
          <p:nvPr/>
        </p:nvSpPr>
        <p:spPr>
          <a:xfrm>
            <a:off x="8761760" y="1726556"/>
            <a:ext cx="33324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sins Types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18EDA50-8DE5-46F1-90A6-D0ACB4BCAFDE}"/>
              </a:ext>
            </a:extLst>
          </p:cNvPr>
          <p:cNvGrpSpPr/>
          <p:nvPr/>
        </p:nvGrpSpPr>
        <p:grpSpPr>
          <a:xfrm>
            <a:off x="4559178" y="2299434"/>
            <a:ext cx="3822432" cy="2290148"/>
            <a:chOff x="4634285" y="1126261"/>
            <a:chExt cx="4069721" cy="2290148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AFDAB402-E5EE-4D64-950F-D7133CC07BCE}"/>
                </a:ext>
              </a:extLst>
            </p:cNvPr>
            <p:cNvGrpSpPr/>
            <p:nvPr/>
          </p:nvGrpSpPr>
          <p:grpSpPr>
            <a:xfrm>
              <a:off x="4634285" y="1126261"/>
              <a:ext cx="4053515" cy="2091549"/>
              <a:chOff x="4884471" y="4348062"/>
              <a:chExt cx="4064506" cy="1286621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DF41C835-8A07-4121-86CA-16A8259F3F5E}"/>
                  </a:ext>
                </a:extLst>
              </p:cNvPr>
              <p:cNvSpPr/>
              <p:nvPr/>
            </p:nvSpPr>
            <p:spPr>
              <a:xfrm>
                <a:off x="4884471" y="4842199"/>
                <a:ext cx="361266" cy="355109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3061279A-C6E0-4BB6-A448-7569CE8BA47D}"/>
                  </a:ext>
                </a:extLst>
              </p:cNvPr>
              <p:cNvSpPr txBox="1"/>
              <p:nvPr/>
            </p:nvSpPr>
            <p:spPr>
              <a:xfrm>
                <a:off x="5308896" y="4883351"/>
                <a:ext cx="1122421" cy="1609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N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ategory-II</a:t>
                </a:r>
              </a:p>
            </p:txBody>
          </p: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C5D847B1-562A-44FC-890E-402E89384514}"/>
                  </a:ext>
                </a:extLst>
              </p:cNvPr>
              <p:cNvGrpSpPr/>
              <p:nvPr/>
            </p:nvGrpSpPr>
            <p:grpSpPr>
              <a:xfrm>
                <a:off x="4892062" y="4348062"/>
                <a:ext cx="4056915" cy="392875"/>
                <a:chOff x="4943145" y="4331117"/>
                <a:chExt cx="4742009" cy="392875"/>
              </a:xfrm>
            </p:grpSpPr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64BBE810-005C-41B5-97D8-81BBD73D52FF}"/>
                    </a:ext>
                  </a:extLst>
                </p:cNvPr>
                <p:cNvSpPr/>
                <p:nvPr/>
              </p:nvSpPr>
              <p:spPr>
                <a:xfrm>
                  <a:off x="4943145" y="4348768"/>
                  <a:ext cx="422272" cy="375224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TextBox 54">
                  <a:extLst>
                    <a:ext uri="{FF2B5EF4-FFF2-40B4-BE49-F238E27FC236}">
                      <a16:creationId xmlns:a16="http://schemas.microsoft.com/office/drawing/2014/main" id="{74FDBDAE-F27D-4831-AA95-295D23219A72}"/>
                    </a:ext>
                  </a:extLst>
                </p:cNvPr>
                <p:cNvSpPr txBox="1"/>
                <p:nvPr/>
              </p:nvSpPr>
              <p:spPr>
                <a:xfrm>
                  <a:off x="6503030" y="4331117"/>
                  <a:ext cx="3182124" cy="36919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7 Commercially Producing Basins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Area: 1 Mn Sq Kms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ource: 21,487 MMTOE</a:t>
                  </a:r>
                  <a:endParaRPr kumimoji="0" lang="en-I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6" name="TextBox 55">
                  <a:extLst>
                    <a:ext uri="{FF2B5EF4-FFF2-40B4-BE49-F238E27FC236}">
                      <a16:creationId xmlns:a16="http://schemas.microsoft.com/office/drawing/2014/main" id="{DD920CA3-20A4-4FE3-8A94-589DE6E50D41}"/>
                    </a:ext>
                  </a:extLst>
                </p:cNvPr>
                <p:cNvSpPr txBox="1"/>
                <p:nvPr/>
              </p:nvSpPr>
              <p:spPr>
                <a:xfrm>
                  <a:off x="5446337" y="4435248"/>
                  <a:ext cx="1175017" cy="1609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IN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Category-I</a:t>
                  </a:r>
                </a:p>
              </p:txBody>
            </p:sp>
          </p:grp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10A078E1-81BD-4E21-8434-4A99E3B5559D}"/>
                  </a:ext>
                </a:extLst>
              </p:cNvPr>
              <p:cNvGrpSpPr/>
              <p:nvPr/>
            </p:nvGrpSpPr>
            <p:grpSpPr>
              <a:xfrm>
                <a:off x="4884473" y="5279574"/>
                <a:ext cx="1530872" cy="355109"/>
                <a:chOff x="4943145" y="4348768"/>
                <a:chExt cx="1615894" cy="355109"/>
              </a:xfrm>
            </p:grpSpPr>
            <p:sp>
              <p:nvSpPr>
                <p:cNvPr id="52" name="Rectangle 51">
                  <a:extLst>
                    <a:ext uri="{FF2B5EF4-FFF2-40B4-BE49-F238E27FC236}">
                      <a16:creationId xmlns:a16="http://schemas.microsoft.com/office/drawing/2014/main" id="{1BB71B41-6220-443F-9E9C-827906968D07}"/>
                    </a:ext>
                  </a:extLst>
                </p:cNvPr>
                <p:cNvSpPr/>
                <p:nvPr/>
              </p:nvSpPr>
              <p:spPr>
                <a:xfrm>
                  <a:off x="4943145" y="4348768"/>
                  <a:ext cx="381330" cy="355109"/>
                </a:xfrm>
                <a:prstGeom prst="rect">
                  <a:avLst/>
                </a:prstGeom>
                <a:solidFill>
                  <a:srgbClr val="DFBFC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21C05731-AC6A-43B9-9208-77890618A503}"/>
                    </a:ext>
                  </a:extLst>
                </p:cNvPr>
                <p:cNvSpPr txBox="1"/>
                <p:nvPr/>
              </p:nvSpPr>
              <p:spPr>
                <a:xfrm>
                  <a:off x="5341686" y="4395517"/>
                  <a:ext cx="1217355" cy="1609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IN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Category-III</a:t>
                  </a:r>
                </a:p>
              </p:txBody>
            </p:sp>
          </p:grpSp>
        </p:grp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E665FC87-7E52-4574-9824-8578714DF981}"/>
                </a:ext>
              </a:extLst>
            </p:cNvPr>
            <p:cNvSpPr txBox="1"/>
            <p:nvPr/>
          </p:nvSpPr>
          <p:spPr>
            <a:xfrm>
              <a:off x="5988975" y="1842451"/>
              <a:ext cx="2715031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 Discovered Basins but not yet commercially developed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rea: 0.78 Mn Sq Km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source: 1.951 MMTOE</a:t>
              </a:r>
              <a:endPara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F82B5BD5-E12D-4C75-804F-BC0B7575B267}"/>
                </a:ext>
              </a:extLst>
            </p:cNvPr>
            <p:cNvSpPr txBox="1"/>
            <p:nvPr/>
          </p:nvSpPr>
          <p:spPr>
            <a:xfrm>
              <a:off x="5979985" y="2646968"/>
              <a:ext cx="2605504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4 Prospective Basins but Undiscovered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rea: 1.59 Mn Sq Km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source: 1,543 MMTOE</a:t>
              </a:r>
              <a:endParaRPr kumimoji="0" lang="en-I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51AD7FBB-77AE-4DE8-BE49-0B22555318C9}"/>
              </a:ext>
            </a:extLst>
          </p:cNvPr>
          <p:cNvSpPr txBox="1"/>
          <p:nvPr/>
        </p:nvSpPr>
        <p:spPr>
          <a:xfrm>
            <a:off x="4514452" y="1711167"/>
            <a:ext cx="3755841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sin Category Description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3FEDAF2-A1C6-45F2-BDA9-4A603DCA7368}"/>
              </a:ext>
            </a:extLst>
          </p:cNvPr>
          <p:cNvSpPr txBox="1"/>
          <p:nvPr/>
        </p:nvSpPr>
        <p:spPr>
          <a:xfrm>
            <a:off x="9005962" y="4015090"/>
            <a:ext cx="10746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1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.4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1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lion sq.km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D2EBBE8-C56B-43C6-9B10-EC35BE97092D}"/>
              </a:ext>
            </a:extLst>
          </p:cNvPr>
          <p:cNvSpPr txBox="1"/>
          <p:nvPr/>
        </p:nvSpPr>
        <p:spPr>
          <a:xfrm>
            <a:off x="8804671" y="2662549"/>
            <a:ext cx="10746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1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32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1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lion sq.km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DFC1B7E-2FBA-4B16-9DDB-55C3FF0CE91B}"/>
              </a:ext>
            </a:extLst>
          </p:cNvPr>
          <p:cNvSpPr txBox="1"/>
          <p:nvPr/>
        </p:nvSpPr>
        <p:spPr>
          <a:xfrm>
            <a:off x="10854333" y="3321687"/>
            <a:ext cx="10746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1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63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1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lion sq.km</a:t>
            </a: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C3E2B4B2-E78D-46A7-9A63-DF019C31FAE4}"/>
              </a:ext>
            </a:extLst>
          </p:cNvPr>
          <p:cNvGraphicFramePr>
            <a:graphicFrameLocks noGrp="1"/>
          </p:cNvGraphicFramePr>
          <p:nvPr/>
        </p:nvGraphicFramePr>
        <p:xfrm>
          <a:off x="425556" y="5403992"/>
          <a:ext cx="2706624" cy="1271839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5940675A-B579-460E-94D1-54222C63F5DA}</a:tableStyleId>
              </a:tblPr>
              <a:tblGrid>
                <a:gridCol w="16733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33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5999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rgbClr val="002060"/>
                          </a:solidFill>
                          <a:latin typeface="Calibri" pitchFamily="34" charset="0"/>
                          <a:cs typeface="Calibri" pitchFamily="34" charset="0"/>
                        </a:rPr>
                        <a:t>Geographical Area</a:t>
                      </a:r>
                      <a:endParaRPr lang="en-IN" sz="1100" b="1" dirty="0">
                        <a:solidFill>
                          <a:srgbClr val="00206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rgbClr val="002060"/>
                          </a:solidFill>
                          <a:latin typeface="Calibri" pitchFamily="34" charset="0"/>
                          <a:cs typeface="Calibri" pitchFamily="34" charset="0"/>
                        </a:rPr>
                        <a:t>Million sq.km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3627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Calibri" pitchFamily="34" charset="0"/>
                          <a:cs typeface="Calibri" pitchFamily="34" charset="0"/>
                        </a:rPr>
                        <a:t>Mainland &amp; Islands</a:t>
                      </a:r>
                      <a:endParaRPr lang="en-IN" sz="105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Calibri" pitchFamily="34" charset="0"/>
                          <a:cs typeface="Calibri" pitchFamily="34" charset="0"/>
                        </a:rPr>
                        <a:t>3.29</a:t>
                      </a:r>
                      <a:endParaRPr lang="en-IN" sz="105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Calibri" pitchFamily="34" charset="0"/>
                          <a:cs typeface="Calibri" pitchFamily="34" charset="0"/>
                        </a:rPr>
                        <a:t>Exclusive Economic Zone</a:t>
                      </a:r>
                      <a:endParaRPr lang="en-IN" sz="7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Calibri" pitchFamily="34" charset="0"/>
                          <a:cs typeface="Calibri" pitchFamily="34" charset="0"/>
                        </a:rPr>
                        <a:t>2.36</a:t>
                      </a:r>
                      <a:endParaRPr lang="en-IN" sz="105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5817">
                <a:tc>
                  <a:txBody>
                    <a:bodyPr/>
                    <a:lstStyle/>
                    <a:p>
                      <a:pPr algn="ctr"/>
                      <a:r>
                        <a:rPr lang="en-IN" sz="1050" b="1" kern="1200" dirty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Total Area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Calibri" pitchFamily="34" charset="0"/>
                          <a:cs typeface="Calibri" pitchFamily="34" charset="0"/>
                        </a:rPr>
                        <a:t>5.65</a:t>
                      </a:r>
                      <a:endParaRPr lang="en-IN" sz="105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1856">
                <a:tc>
                  <a:txBody>
                    <a:bodyPr/>
                    <a:lstStyle/>
                    <a:p>
                      <a:pPr algn="ctr"/>
                      <a:r>
                        <a:rPr lang="en-IN" sz="1050" b="1" kern="1200" dirty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Sedimentary Ba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Calibri" pitchFamily="34" charset="0"/>
                          <a:cs typeface="Calibri" pitchFamily="34" charset="0"/>
                        </a:rPr>
                        <a:t>3.36</a:t>
                      </a:r>
                      <a:endParaRPr lang="en-IN" sz="105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8" name="Rectangle 67">
            <a:extLst>
              <a:ext uri="{FF2B5EF4-FFF2-40B4-BE49-F238E27FC236}">
                <a16:creationId xmlns:a16="http://schemas.microsoft.com/office/drawing/2014/main" id="{A22A54C4-A739-4249-B99D-147BC5B455ED}"/>
              </a:ext>
            </a:extLst>
          </p:cNvPr>
          <p:cNvSpPr/>
          <p:nvPr/>
        </p:nvSpPr>
        <p:spPr>
          <a:xfrm>
            <a:off x="4507524" y="1047243"/>
            <a:ext cx="73342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26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sedimentary basins 	||	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3.36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A500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illion Sq. Km. </a:t>
            </a:r>
            <a:endParaRPr kumimoji="0" lang="en-IN" sz="2000" b="0" i="0" u="none" strike="noStrike" kern="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81706DD-9464-4A23-B1B4-8E313EC6418C}"/>
              </a:ext>
            </a:extLst>
          </p:cNvPr>
          <p:cNvGrpSpPr/>
          <p:nvPr/>
        </p:nvGrpSpPr>
        <p:grpSpPr>
          <a:xfrm>
            <a:off x="4818768" y="4898576"/>
            <a:ext cx="6362198" cy="1742904"/>
            <a:chOff x="4744602" y="4969398"/>
            <a:chExt cx="6362198" cy="1742904"/>
          </a:xfr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677F84BF-48C9-42BE-9266-B670E7EBA6F6}"/>
                </a:ext>
              </a:extLst>
            </p:cNvPr>
            <p:cNvGrpSpPr/>
            <p:nvPr/>
          </p:nvGrpSpPr>
          <p:grpSpPr>
            <a:xfrm>
              <a:off x="4744602" y="4969398"/>
              <a:ext cx="6362198" cy="1742904"/>
              <a:chOff x="3911186" y="4693253"/>
              <a:chExt cx="6906808" cy="2002587"/>
            </a:xfrm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C0E30357-3311-405C-B343-5E9D5EE9661A}"/>
                  </a:ext>
                </a:extLst>
              </p:cNvPr>
              <p:cNvGrpSpPr/>
              <p:nvPr/>
            </p:nvGrpSpPr>
            <p:grpSpPr>
              <a:xfrm>
                <a:off x="5375014" y="4693253"/>
                <a:ext cx="5442980" cy="2002587"/>
                <a:chOff x="94138" y="1195199"/>
                <a:chExt cx="7299530" cy="2238932"/>
              </a:xfrm>
            </p:grpSpPr>
            <p:grpSp>
              <p:nvGrpSpPr>
                <p:cNvPr id="73" name="Group 72">
                  <a:extLst>
                    <a:ext uri="{FF2B5EF4-FFF2-40B4-BE49-F238E27FC236}">
                      <a16:creationId xmlns:a16="http://schemas.microsoft.com/office/drawing/2014/main" id="{75E4E08E-A979-4897-9A44-5F67EC95F2CF}"/>
                    </a:ext>
                  </a:extLst>
                </p:cNvPr>
                <p:cNvGrpSpPr/>
                <p:nvPr/>
              </p:nvGrpSpPr>
              <p:grpSpPr>
                <a:xfrm>
                  <a:off x="94138" y="1195199"/>
                  <a:ext cx="7299530" cy="2238932"/>
                  <a:chOff x="3670673" y="1495416"/>
                  <a:chExt cx="6363327" cy="1801312"/>
                </a:xfrm>
              </p:grpSpPr>
              <p:sp>
                <p:nvSpPr>
                  <p:cNvPr id="75" name="Flowchart: Process 74">
                    <a:extLst>
                      <a:ext uri="{FF2B5EF4-FFF2-40B4-BE49-F238E27FC236}">
                        <a16:creationId xmlns:a16="http://schemas.microsoft.com/office/drawing/2014/main" id="{2FFDFFB3-15D7-4748-AF27-CAC947DA7F26}"/>
                      </a:ext>
                    </a:extLst>
                  </p:cNvPr>
                  <p:cNvSpPr/>
                  <p:nvPr/>
                </p:nvSpPr>
                <p:spPr>
                  <a:xfrm>
                    <a:off x="3670673" y="1500918"/>
                    <a:ext cx="1390479" cy="609600"/>
                  </a:xfrm>
                  <a:prstGeom prst="flowChartProcess">
                    <a:avLst/>
                  </a:prstGeom>
                  <a:solidFill>
                    <a:schemeClr val="tx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Discovered </a:t>
                    </a:r>
                    <a:r>
                      <a:rPr kumimoji="0" lang="en-GB" sz="1100" b="0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Inplace</a:t>
                    </a:r>
                    <a:endParaRPr kumimoji="0" lang="en-GB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12.1 BTOE</a:t>
                    </a:r>
                    <a:endPara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Flowchart: Process 75">
                    <a:extLst>
                      <a:ext uri="{FF2B5EF4-FFF2-40B4-BE49-F238E27FC236}">
                        <a16:creationId xmlns:a16="http://schemas.microsoft.com/office/drawing/2014/main" id="{CA524C9F-0F28-4396-8BB5-5E874F918DFF}"/>
                      </a:ext>
                    </a:extLst>
                  </p:cNvPr>
                  <p:cNvSpPr/>
                  <p:nvPr/>
                </p:nvSpPr>
                <p:spPr>
                  <a:xfrm>
                    <a:off x="6317220" y="1498601"/>
                    <a:ext cx="1675996" cy="609600"/>
                  </a:xfrm>
                  <a:prstGeom prst="flowChartProcess">
                    <a:avLst/>
                  </a:prstGeom>
                  <a:solidFill>
                    <a:schemeClr val="tx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Estimated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Ultimate Recovery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4.2 BTOE</a:t>
                    </a:r>
                    <a:endPara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" name="Flowchart: Process 76">
                    <a:extLst>
                      <a:ext uri="{FF2B5EF4-FFF2-40B4-BE49-F238E27FC236}">
                        <a16:creationId xmlns:a16="http://schemas.microsoft.com/office/drawing/2014/main" id="{8FE0291D-34EC-4959-980B-6E61F60C3EA9}"/>
                      </a:ext>
                    </a:extLst>
                  </p:cNvPr>
                  <p:cNvSpPr/>
                  <p:nvPr/>
                </p:nvSpPr>
                <p:spPr>
                  <a:xfrm>
                    <a:off x="3674474" y="2622600"/>
                    <a:ext cx="1390479" cy="660400"/>
                  </a:xfrm>
                  <a:prstGeom prst="flowChartProcess">
                    <a:avLst/>
                  </a:prstGeom>
                  <a:solidFill>
                    <a:srgbClr val="00808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Undiscovered Risked Potential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12.9 BTOE</a:t>
                    </a:r>
                  </a:p>
                </p:txBody>
              </p:sp>
              <p:sp>
                <p:nvSpPr>
                  <p:cNvPr id="78" name="Flowchart: Process 77">
                    <a:extLst>
                      <a:ext uri="{FF2B5EF4-FFF2-40B4-BE49-F238E27FC236}">
                        <a16:creationId xmlns:a16="http://schemas.microsoft.com/office/drawing/2014/main" id="{43BF76ED-88A4-4B83-BF91-23DF70BE835A}"/>
                      </a:ext>
                    </a:extLst>
                  </p:cNvPr>
                  <p:cNvSpPr/>
                  <p:nvPr/>
                </p:nvSpPr>
                <p:spPr>
                  <a:xfrm>
                    <a:off x="6545618" y="2608872"/>
                    <a:ext cx="1219200" cy="687856"/>
                  </a:xfrm>
                  <a:prstGeom prst="flowChartProcess">
                    <a:avLst/>
                  </a:prstGeom>
                  <a:solidFill>
                    <a:srgbClr val="00808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Yet-to-Find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(YTF)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3.9 BTOE</a:t>
                    </a:r>
                  </a:p>
                </p:txBody>
              </p:sp>
              <p:sp>
                <p:nvSpPr>
                  <p:cNvPr id="79" name="Flowchart: Process 78">
                    <a:extLst>
                      <a:ext uri="{FF2B5EF4-FFF2-40B4-BE49-F238E27FC236}">
                        <a16:creationId xmlns:a16="http://schemas.microsoft.com/office/drawing/2014/main" id="{CDDF6253-107E-4DC1-9F3D-54BA706A29C7}"/>
                      </a:ext>
                    </a:extLst>
                  </p:cNvPr>
                  <p:cNvSpPr/>
                  <p:nvPr/>
                </p:nvSpPr>
                <p:spPr>
                  <a:xfrm>
                    <a:off x="8643530" y="1495416"/>
                    <a:ext cx="1390470" cy="609597"/>
                  </a:xfrm>
                  <a:prstGeom prst="flowChartProcess">
                    <a:avLst/>
                  </a:prstGeom>
                  <a:solidFill>
                    <a:schemeClr val="tx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Produced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2.6 BTOE</a:t>
                    </a:r>
                    <a:endPara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" name="Flowchart: Process 79">
                    <a:extLst>
                      <a:ext uri="{FF2B5EF4-FFF2-40B4-BE49-F238E27FC236}">
                        <a16:creationId xmlns:a16="http://schemas.microsoft.com/office/drawing/2014/main" id="{638A4EA6-CF74-4CA0-96F2-B097A763833B}"/>
                      </a:ext>
                    </a:extLst>
                  </p:cNvPr>
                  <p:cNvSpPr/>
                  <p:nvPr/>
                </p:nvSpPr>
                <p:spPr>
                  <a:xfrm>
                    <a:off x="8606362" y="2481334"/>
                    <a:ext cx="1362045" cy="815394"/>
                  </a:xfrm>
                  <a:prstGeom prst="flowChartProcess">
                    <a:avLst/>
                  </a:prstGeom>
                  <a:solidFill>
                    <a:schemeClr val="tx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Reserve + Contingent Resources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1.6 BTOE</a:t>
                    </a:r>
                    <a:endPara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81" name="Straight Arrow Connector 80">
                    <a:extLst>
                      <a:ext uri="{FF2B5EF4-FFF2-40B4-BE49-F238E27FC236}">
                        <a16:creationId xmlns:a16="http://schemas.microsoft.com/office/drawing/2014/main" id="{26B400B4-E662-466E-9C4A-9B7296E4BF38}"/>
                      </a:ext>
                    </a:extLst>
                  </p:cNvPr>
                  <p:cNvCxnSpPr>
                    <a:cxnSpLocks/>
                    <a:stCxn id="75" idx="3"/>
                    <a:endCxn id="76" idx="1"/>
                  </p:cNvCxnSpPr>
                  <p:nvPr/>
                </p:nvCxnSpPr>
                <p:spPr>
                  <a:xfrm flipV="1">
                    <a:off x="5061152" y="1803402"/>
                    <a:ext cx="1256068" cy="2317"/>
                  </a:xfrm>
                  <a:prstGeom prst="straightConnector1">
                    <a:avLst/>
                  </a:prstGeom>
                  <a:ln w="19050">
                    <a:noFill/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2" name="Straight Arrow Connector 81">
                    <a:extLst>
                      <a:ext uri="{FF2B5EF4-FFF2-40B4-BE49-F238E27FC236}">
                        <a16:creationId xmlns:a16="http://schemas.microsoft.com/office/drawing/2014/main" id="{E98D8221-0CC5-41E5-8F32-561D9DF6740B}"/>
                      </a:ext>
                    </a:extLst>
                  </p:cNvPr>
                  <p:cNvCxnSpPr/>
                  <p:nvPr/>
                </p:nvCxnSpPr>
                <p:spPr>
                  <a:xfrm>
                    <a:off x="5090352" y="2952800"/>
                    <a:ext cx="1584000" cy="0"/>
                  </a:xfrm>
                  <a:prstGeom prst="straightConnector1">
                    <a:avLst/>
                  </a:prstGeom>
                  <a:ln w="19050">
                    <a:noFill/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3" name="Straight Arrow Connector 82">
                    <a:extLst>
                      <a:ext uri="{FF2B5EF4-FFF2-40B4-BE49-F238E27FC236}">
                        <a16:creationId xmlns:a16="http://schemas.microsoft.com/office/drawing/2014/main" id="{F44A214B-88F4-4400-BBD1-E21D6DA8A9B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049206" y="1787716"/>
                    <a:ext cx="1546808" cy="0"/>
                  </a:xfrm>
                  <a:prstGeom prst="straightConnector1">
                    <a:avLst/>
                  </a:prstGeom>
                  <a:ln w="19050">
                    <a:noFill/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72" name="Plus Sign 71">
                  <a:extLst>
                    <a:ext uri="{FF2B5EF4-FFF2-40B4-BE49-F238E27FC236}">
                      <a16:creationId xmlns:a16="http://schemas.microsoft.com/office/drawing/2014/main" id="{B8DAA3C4-63E0-45E8-80A1-0D135BB64D2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8619" y="2060541"/>
                  <a:ext cx="432000" cy="432000"/>
                </a:xfrm>
                <a:prstGeom prst="mathPlus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0" name="Flowchart: Process 69">
                <a:extLst>
                  <a:ext uri="{FF2B5EF4-FFF2-40B4-BE49-F238E27FC236}">
                    <a16:creationId xmlns:a16="http://schemas.microsoft.com/office/drawing/2014/main" id="{BFC68746-A48A-42FB-A6B6-E49884C00E2E}"/>
                  </a:ext>
                </a:extLst>
              </p:cNvPr>
              <p:cNvSpPr/>
              <p:nvPr/>
            </p:nvSpPr>
            <p:spPr>
              <a:xfrm>
                <a:off x="3911186" y="5416033"/>
                <a:ext cx="1348168" cy="610919"/>
              </a:xfrm>
              <a:prstGeom prst="flowChartProcess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otal </a:t>
                </a:r>
                <a:r>
                  <a:rPr kumimoji="0" lang="en-GB" sz="11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nplace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5 BTOE</a:t>
                </a: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EB166318-47CE-49BF-B660-CA2CABFDE23E}"/>
                </a:ext>
              </a:extLst>
            </p:cNvPr>
            <p:cNvCxnSpPr>
              <a:cxnSpLocks/>
            </p:cNvCxnSpPr>
            <p:nvPr/>
          </p:nvCxnSpPr>
          <p:spPr>
            <a:xfrm>
              <a:off x="10382601" y="5979318"/>
              <a:ext cx="429888" cy="0"/>
            </a:xfrm>
            <a:prstGeom prst="straightConnector1">
              <a:avLst/>
            </a:prstGeom>
            <a:ln w="19050">
              <a:noFill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9DB0472C-7484-4D2C-9A40-0074B21F9DC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382601" y="5252220"/>
              <a:ext cx="1" cy="727098"/>
            </a:xfrm>
            <a:prstGeom prst="line">
              <a:avLst/>
            </a:prstGeom>
            <a:ln w="190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Arrow: Right 2">
            <a:extLst>
              <a:ext uri="{FF2B5EF4-FFF2-40B4-BE49-F238E27FC236}">
                <a16:creationId xmlns:a16="http://schemas.microsoft.com/office/drawing/2014/main" id="{CACC9837-C644-BB30-8F74-41174D7D4366}"/>
              </a:ext>
            </a:extLst>
          </p:cNvPr>
          <p:cNvSpPr/>
          <p:nvPr/>
        </p:nvSpPr>
        <p:spPr>
          <a:xfrm>
            <a:off x="7347910" y="5091033"/>
            <a:ext cx="816656" cy="259040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EC52FE45-E60E-E9DD-D18C-FBD75C65E883}"/>
              </a:ext>
            </a:extLst>
          </p:cNvPr>
          <p:cNvSpPr/>
          <p:nvPr/>
        </p:nvSpPr>
        <p:spPr>
          <a:xfrm>
            <a:off x="7420406" y="6202213"/>
            <a:ext cx="816656" cy="259040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us Sign 5">
            <a:extLst>
              <a:ext uri="{FF2B5EF4-FFF2-40B4-BE49-F238E27FC236}">
                <a16:creationId xmlns:a16="http://schemas.microsoft.com/office/drawing/2014/main" id="{907BCA26-0A68-7B8B-F86C-C206B0398D5C}"/>
              </a:ext>
            </a:extLst>
          </p:cNvPr>
          <p:cNvSpPr>
            <a:spLocks noChangeAspect="1"/>
          </p:cNvSpPr>
          <p:nvPr/>
        </p:nvSpPr>
        <p:spPr>
          <a:xfrm>
            <a:off x="10448489" y="5476028"/>
            <a:ext cx="296726" cy="336292"/>
          </a:xfrm>
          <a:prstGeom prst="mathPlus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B70E45E4-CEE7-0DAB-80FE-33BD4639F172}"/>
              </a:ext>
            </a:extLst>
          </p:cNvPr>
          <p:cNvSpPr/>
          <p:nvPr/>
        </p:nvSpPr>
        <p:spPr>
          <a:xfrm>
            <a:off x="9598617" y="5128607"/>
            <a:ext cx="421419" cy="221465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86300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40E7D5A-DE1F-45B5-8D70-9F65420203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99746" y="1235391"/>
            <a:ext cx="4898139" cy="2992569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EFB967-B05F-44F5-A9D5-4058FBF90A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90518" y="164078"/>
          <a:ext cx="1513" cy="1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EFB967-B05F-44F5-A9D5-4058FBF90A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90518" y="164078"/>
                        <a:ext cx="1513" cy="15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TextBox 127">
            <a:extLst>
              <a:ext uri="{FF2B5EF4-FFF2-40B4-BE49-F238E27FC236}">
                <a16:creationId xmlns:a16="http://schemas.microsoft.com/office/drawing/2014/main" id="{83748259-30C3-7C52-927C-FDB417034100}"/>
              </a:ext>
            </a:extLst>
          </p:cNvPr>
          <p:cNvSpPr txBox="1"/>
          <p:nvPr/>
        </p:nvSpPr>
        <p:spPr>
          <a:xfrm>
            <a:off x="1445323" y="5004360"/>
            <a:ext cx="522630" cy="17588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871057">
              <a:defRPr/>
            </a:pPr>
            <a:r>
              <a:rPr lang="en-US" sz="1143">
                <a:solidFill>
                  <a:prstClr val="white"/>
                </a:solidFill>
                <a:latin typeface="Trebuchet MS"/>
                <a:sym typeface="Trebuchet MS" panose="020B0603020202020204" pitchFamily="34" charset="0"/>
              </a:rPr>
              <a:t>Proven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521B285-F4E0-4F14-AC97-FEB94C8A4DB1}"/>
              </a:ext>
            </a:extLst>
          </p:cNvPr>
          <p:cNvSpPr txBox="1"/>
          <p:nvPr/>
        </p:nvSpPr>
        <p:spPr>
          <a:xfrm>
            <a:off x="834237" y="697157"/>
            <a:ext cx="5102352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it-IT" sz="2286" b="1" dirty="0">
                <a:solidFill>
                  <a:srgbClr val="FFD700"/>
                </a:solidFill>
                <a:latin typeface="Trebuchet MS"/>
              </a:rPr>
              <a:t>Block Name: </a:t>
            </a:r>
            <a:r>
              <a:rPr lang="it-IT" sz="2286" b="1" dirty="0">
                <a:solidFill>
                  <a:prstClr val="white"/>
                </a:solidFill>
                <a:latin typeface="Trebuchet MS"/>
              </a:rPr>
              <a:t>GS-OSHP-2022/1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A2183F-9855-4500-8F5D-5A334EB21C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5278" y="4527080"/>
            <a:ext cx="5639080" cy="1461780"/>
          </a:xfrm>
          <a:prstGeom prst="rect">
            <a:avLst/>
          </a:prstGeom>
        </p:spPr>
      </p:pic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C3E0DB13-D812-41B4-A1D4-E8BBD399E0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6385158"/>
              </p:ext>
            </p:extLst>
          </p:nvPr>
        </p:nvGraphicFramePr>
        <p:xfrm>
          <a:off x="1073725" y="5016931"/>
          <a:ext cx="4842186" cy="7266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4062">
                  <a:extLst>
                    <a:ext uri="{9D8B030D-6E8A-4147-A177-3AD203B41FA5}">
                      <a16:colId xmlns:a16="http://schemas.microsoft.com/office/drawing/2014/main" val="1509538704"/>
                    </a:ext>
                  </a:extLst>
                </a:gridCol>
                <a:gridCol w="1614062">
                  <a:extLst>
                    <a:ext uri="{9D8B030D-6E8A-4147-A177-3AD203B41FA5}">
                      <a16:colId xmlns:a16="http://schemas.microsoft.com/office/drawing/2014/main" val="2097548571"/>
                    </a:ext>
                  </a:extLst>
                </a:gridCol>
                <a:gridCol w="1614062">
                  <a:extLst>
                    <a:ext uri="{9D8B030D-6E8A-4147-A177-3AD203B41FA5}">
                      <a16:colId xmlns:a16="http://schemas.microsoft.com/office/drawing/2014/main" val="1377973221"/>
                    </a:ext>
                  </a:extLst>
                </a:gridCol>
              </a:tblGrid>
              <a:tr h="380454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D (LKM)</a:t>
                      </a:r>
                      <a:endParaRPr lang="en-IN" sz="1600" dirty="0"/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D (SKM)</a:t>
                      </a:r>
                      <a:endParaRPr lang="en-IN" sz="1600" dirty="0"/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Exp. Well   </a:t>
                      </a:r>
                      <a:endParaRPr lang="en-IN" sz="1600" dirty="0"/>
                    </a:p>
                  </a:txBody>
                  <a:tcPr marL="87105" marR="87105" marT="43552" marB="43552"/>
                </a:tc>
                <a:extLst>
                  <a:ext uri="{0D108BD9-81ED-4DB2-BD59-A6C34878D82A}">
                    <a16:rowId xmlns:a16="http://schemas.microsoft.com/office/drawing/2014/main" val="7503980"/>
                  </a:ext>
                </a:extLst>
              </a:tr>
              <a:tr h="3360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7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30</a:t>
                      </a:r>
                    </a:p>
                  </a:txBody>
                  <a:tcPr marL="7259" marR="7259" marT="7259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700" b="1" dirty="0"/>
                        <a:t>   1369</a:t>
                      </a:r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700" b="1" dirty="0"/>
                        <a:t>Nil</a:t>
                      </a:r>
                    </a:p>
                  </a:txBody>
                  <a:tcPr marL="87105" marR="87105" marT="43552" marB="43552"/>
                </a:tc>
                <a:extLst>
                  <a:ext uri="{0D108BD9-81ED-4DB2-BD59-A6C34878D82A}">
                    <a16:rowId xmlns:a16="http://schemas.microsoft.com/office/drawing/2014/main" val="714915456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84E09A1E-C8EE-49B5-BE6F-36B8C775260B}"/>
              </a:ext>
            </a:extLst>
          </p:cNvPr>
          <p:cNvSpPr txBox="1"/>
          <p:nvPr/>
        </p:nvSpPr>
        <p:spPr>
          <a:xfrm>
            <a:off x="1381811" y="4629869"/>
            <a:ext cx="3885242" cy="34982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/>
            <a:r>
              <a:rPr lang="it-IT" sz="1715" b="1" kern="0" dirty="0">
                <a:solidFill>
                  <a:srgbClr val="FFD700"/>
                </a:solidFill>
                <a:latin typeface="Trebuchet MS"/>
              </a:rPr>
              <a:t>Data Availability</a:t>
            </a:r>
            <a:endParaRPr lang="en-IN" sz="1715" dirty="0" err="1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13D9414-D689-4C43-AC91-2B721D7F737E}"/>
              </a:ext>
            </a:extLst>
          </p:cNvPr>
          <p:cNvSpPr txBox="1">
            <a:spLocks/>
          </p:cNvSpPr>
          <p:nvPr/>
        </p:nvSpPr>
        <p:spPr>
          <a:xfrm>
            <a:off x="6274458" y="681909"/>
            <a:ext cx="5103798" cy="47491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en-IN" sz="2286" b="1" dirty="0">
                <a:solidFill>
                  <a:srgbClr val="FFD700"/>
                </a:solidFill>
                <a:latin typeface="Trebuchet MS"/>
              </a:rPr>
              <a:t>Block Area: </a:t>
            </a:r>
            <a:r>
              <a:rPr lang="en-IN" sz="2286" b="1" dirty="0">
                <a:solidFill>
                  <a:prstClr val="white"/>
                </a:solidFill>
                <a:latin typeface="Trebuchet MS"/>
              </a:rPr>
              <a:t>5,586  SQ KM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F878A15-818C-45B8-BFE7-6200C71785BF}"/>
              </a:ext>
            </a:extLst>
          </p:cNvPr>
          <p:cNvSpPr txBox="1"/>
          <p:nvPr/>
        </p:nvSpPr>
        <p:spPr>
          <a:xfrm>
            <a:off x="8613343" y="1335685"/>
            <a:ext cx="2977766" cy="540070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91440" rIns="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02881" algn="ctr" defTabSz="871057">
              <a:lnSpc>
                <a:spcPct val="115000"/>
              </a:lnSpc>
              <a:spcBef>
                <a:spcPts val="286"/>
              </a:spcBef>
              <a:spcAft>
                <a:spcPts val="286"/>
              </a:spcAft>
            </a:pPr>
            <a:r>
              <a:rPr lang="en-IN" sz="1715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troleum System:</a:t>
            </a:r>
            <a:endParaRPr lang="en-US" sz="1524" dirty="0">
              <a:solidFill>
                <a:prstClr val="white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02881" defTabSz="871057">
              <a:lnSpc>
                <a:spcPct val="115000"/>
              </a:lnSpc>
              <a:spcBef>
                <a:spcPts val="286"/>
              </a:spcBef>
              <a:spcAft>
                <a:spcPts val="286"/>
              </a:spcAft>
            </a:pPr>
            <a:r>
              <a:rPr lang="en-IN" sz="152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ource rock: </a:t>
            </a:r>
            <a:r>
              <a:rPr lang="en-IN" sz="152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esozoic </a:t>
            </a:r>
          </a:p>
          <a:p>
            <a:pPr marL="102881" defTabSz="871057">
              <a:lnSpc>
                <a:spcPct val="115000"/>
              </a:lnSpc>
              <a:spcBef>
                <a:spcPts val="286"/>
              </a:spcBef>
              <a:spcAft>
                <a:spcPts val="286"/>
              </a:spcAft>
            </a:pPr>
            <a:r>
              <a:rPr lang="en-IN" sz="152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servoir:  </a:t>
            </a:r>
            <a:r>
              <a:rPr lang="en-IN" sz="152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te Jurassic, Cretaceous, Eocene-Early Miocene, Fractured Basalt</a:t>
            </a:r>
          </a:p>
          <a:p>
            <a:pPr marL="102881" defTabSz="871057">
              <a:lnSpc>
                <a:spcPct val="115000"/>
              </a:lnSpc>
              <a:spcBef>
                <a:spcPts val="286"/>
              </a:spcBef>
              <a:spcAft>
                <a:spcPts val="286"/>
              </a:spcAft>
            </a:pPr>
            <a:r>
              <a:rPr lang="en-IN" sz="152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eal: </a:t>
            </a:r>
            <a:r>
              <a:rPr lang="en-IN" sz="152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asalt/Shale</a:t>
            </a:r>
          </a:p>
          <a:p>
            <a:pPr marL="102881" defTabSz="871057">
              <a:lnSpc>
                <a:spcPct val="115000"/>
              </a:lnSpc>
              <a:spcBef>
                <a:spcPts val="286"/>
              </a:spcBef>
              <a:spcAft>
                <a:spcPts val="286"/>
              </a:spcAft>
            </a:pPr>
            <a:r>
              <a:rPr lang="en-IN" sz="152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trapment Mechanism: </a:t>
            </a:r>
            <a:r>
              <a:rPr lang="en-IN" sz="152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rati-Structural &amp; Structural </a:t>
            </a:r>
          </a:p>
          <a:p>
            <a:pPr marL="102881" defTabSz="871057">
              <a:lnSpc>
                <a:spcPct val="115000"/>
              </a:lnSpc>
              <a:spcBef>
                <a:spcPts val="286"/>
              </a:spcBef>
              <a:spcAft>
                <a:spcPts val="286"/>
              </a:spcAft>
            </a:pPr>
            <a:r>
              <a:rPr lang="en-IN" sz="152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visaged plays: </a:t>
            </a:r>
            <a:r>
              <a:rPr lang="en-IN" sz="152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Jurassic, Cretaceous Plays dominantly strati-structural as wedge out against Trap bottom is present in drilled well.</a:t>
            </a:r>
          </a:p>
          <a:p>
            <a:pPr marL="102881" defTabSz="871057">
              <a:lnSpc>
                <a:spcPct val="115000"/>
              </a:lnSpc>
              <a:spcBef>
                <a:spcPts val="286"/>
              </a:spcBef>
              <a:spcAft>
                <a:spcPts val="286"/>
              </a:spcAft>
            </a:pPr>
            <a:r>
              <a:rPr lang="en-IN" sz="152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visaged Petroleum system: </a:t>
            </a:r>
            <a:r>
              <a:rPr lang="en-IN" sz="152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troleum system envisaged is Jurassic-Jurassic, Jurassic-Cretaceous, Cretaceous-Cretaceous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B144D26-435E-49FF-B7B2-02C5F557FB71}"/>
              </a:ext>
            </a:extLst>
          </p:cNvPr>
          <p:cNvSpPr txBox="1"/>
          <p:nvPr/>
        </p:nvSpPr>
        <p:spPr>
          <a:xfrm>
            <a:off x="1073725" y="6122414"/>
            <a:ext cx="4780807" cy="58477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defTabSz="871057"/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arget </a:t>
            </a:r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cs typeface="Mangal" panose="02040503050203030202" pitchFamily="18" charset="0"/>
              </a:rPr>
              <a:t>plays</a:t>
            </a:r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Clastic Mesozoic sediments capped by Deccan basalt. 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5DACEF30-3F59-40C8-AA6E-5149470798B3}"/>
              </a:ext>
            </a:extLst>
          </p:cNvPr>
          <p:cNvSpPr txBox="1"/>
          <p:nvPr/>
        </p:nvSpPr>
        <p:spPr>
          <a:xfrm>
            <a:off x="1368564" y="3780332"/>
            <a:ext cx="1038296" cy="2827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defTabSz="871057">
              <a:lnSpc>
                <a:spcPct val="115000"/>
              </a:lnSpc>
              <a:spcAft>
                <a:spcPts val="953"/>
              </a:spcAft>
            </a:pPr>
            <a:r>
              <a:rPr lang="en-IN" sz="1143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ocation Map</a:t>
            </a:r>
            <a:endParaRPr lang="en-IN" sz="1048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65FDF2B-2491-46C4-9511-7B29798EC0D1}"/>
              </a:ext>
            </a:extLst>
          </p:cNvPr>
          <p:cNvSpPr txBox="1"/>
          <p:nvPr/>
        </p:nvSpPr>
        <p:spPr>
          <a:xfrm>
            <a:off x="4083739" y="4153284"/>
            <a:ext cx="2069411" cy="2827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defTabSz="871057">
              <a:lnSpc>
                <a:spcPct val="115000"/>
              </a:lnSpc>
              <a:spcAft>
                <a:spcPts val="953"/>
              </a:spcAft>
            </a:pPr>
            <a:r>
              <a:rPr lang="en-US" sz="1143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ative Seismic Section</a:t>
            </a:r>
            <a:endParaRPr lang="en-IN" sz="1143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094B28A-C67F-4B16-B83B-9FB303B9D087}"/>
              </a:ext>
            </a:extLst>
          </p:cNvPr>
          <p:cNvGrpSpPr/>
          <p:nvPr/>
        </p:nvGrpSpPr>
        <p:grpSpPr>
          <a:xfrm>
            <a:off x="6539629" y="4262130"/>
            <a:ext cx="1973469" cy="2562531"/>
            <a:chOff x="-215713" y="527463"/>
            <a:chExt cx="1750694" cy="2460856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63865F93-13AE-4FE2-B881-46F6F61D48DA}"/>
                </a:ext>
              </a:extLst>
            </p:cNvPr>
            <p:cNvGrpSpPr/>
            <p:nvPr/>
          </p:nvGrpSpPr>
          <p:grpSpPr>
            <a:xfrm>
              <a:off x="-215713" y="527463"/>
              <a:ext cx="1750694" cy="2460856"/>
              <a:chOff x="6801388" y="4059802"/>
              <a:chExt cx="1837823" cy="2583329"/>
            </a:xfrm>
          </p:grpSpPr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EB1605FD-76D8-4F9B-B427-833F33C13C3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685" r="543" b="923"/>
              <a:stretch/>
            </p:blipFill>
            <p:spPr>
              <a:xfrm>
                <a:off x="6801388" y="4059802"/>
                <a:ext cx="1837823" cy="2583329"/>
              </a:xfrm>
              <a:prstGeom prst="rect">
                <a:avLst/>
              </a:prstGeom>
            </p:spPr>
          </p:pic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F0B4DEC7-9016-4152-972A-A7C2F3D2AF32}"/>
                  </a:ext>
                </a:extLst>
              </p:cNvPr>
              <p:cNvSpPr txBox="1"/>
              <p:nvPr/>
            </p:nvSpPr>
            <p:spPr>
              <a:xfrm>
                <a:off x="7463855" y="6301619"/>
                <a:ext cx="966447" cy="249306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/>
                <a:r>
                  <a:rPr lang="en-US" sz="1143" b="1" dirty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Base Map</a:t>
                </a:r>
                <a:endParaRPr lang="en-IN" sz="1143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699BFDF-E44A-4586-8051-0129B086AD3D}"/>
                </a:ext>
              </a:extLst>
            </p:cNvPr>
            <p:cNvGrpSpPr/>
            <p:nvPr/>
          </p:nvGrpSpPr>
          <p:grpSpPr>
            <a:xfrm>
              <a:off x="135813" y="605718"/>
              <a:ext cx="920628" cy="111742"/>
              <a:chOff x="6489216" y="1039498"/>
              <a:chExt cx="920628" cy="111742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AF935D0E-1D59-4520-A141-2B4169E1209C}"/>
                  </a:ext>
                </a:extLst>
              </p:cNvPr>
              <p:cNvSpPr/>
              <p:nvPr/>
            </p:nvSpPr>
            <p:spPr>
              <a:xfrm>
                <a:off x="6489216" y="1039498"/>
                <a:ext cx="920628" cy="111742"/>
              </a:xfrm>
              <a:prstGeom prst="rect">
                <a:avLst/>
              </a:prstGeom>
              <a:solidFill>
                <a:srgbClr val="FFFF99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80760A5D-76F2-447F-AC58-7103D5C2D468}"/>
                  </a:ext>
                </a:extLst>
              </p:cNvPr>
              <p:cNvSpPr txBox="1"/>
              <p:nvPr/>
            </p:nvSpPr>
            <p:spPr>
              <a:xfrm>
                <a:off x="6603786" y="1041415"/>
                <a:ext cx="781453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accent1">
                        <a:lumMod val="75000"/>
                        <a:lumOff val="25000"/>
                      </a:schemeClr>
                    </a:solidFill>
                  </a:rPr>
                  <a:t>GS-OSHP-2022/1</a:t>
                </a:r>
              </a:p>
            </p:txBody>
          </p:sp>
        </p:grpSp>
      </p:grp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69CCF66-D988-4DB0-82F0-6DC457973DE8}"/>
              </a:ext>
            </a:extLst>
          </p:cNvPr>
          <p:cNvCxnSpPr/>
          <p:nvPr/>
        </p:nvCxnSpPr>
        <p:spPr>
          <a:xfrm>
            <a:off x="31554" y="579604"/>
            <a:ext cx="12124944" cy="0"/>
          </a:xfrm>
          <a:prstGeom prst="line">
            <a:avLst/>
          </a:prstGeom>
          <a:ln w="101600" cap="rnd" cmpd="thinThick">
            <a:solidFill>
              <a:schemeClr val="tx2">
                <a:lumMod val="5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6361FE7B-B046-4D39-AA6E-89A07195819C}"/>
              </a:ext>
            </a:extLst>
          </p:cNvPr>
          <p:cNvSpPr txBox="1"/>
          <p:nvPr/>
        </p:nvSpPr>
        <p:spPr>
          <a:xfrm>
            <a:off x="4051029" y="145886"/>
            <a:ext cx="4094050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>
            <a:spAutoFit/>
          </a:bodyPr>
          <a:lstStyle/>
          <a:p>
            <a:pPr algn="ctr" defTabSz="871057">
              <a:defRPr/>
            </a:pPr>
            <a:r>
              <a:rPr lang="en-US" sz="2400" b="1" dirty="0">
                <a:solidFill>
                  <a:srgbClr val="000066"/>
                </a:solidFill>
                <a:latin typeface="Trebuchet MS"/>
              </a:rPr>
              <a:t>Saurashtra Basin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28B45989-B6F9-4D7F-9DBF-16D335097C4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6" t="3657" r="4846" b="6625"/>
          <a:stretch/>
        </p:blipFill>
        <p:spPr>
          <a:xfrm>
            <a:off x="489306" y="1516250"/>
            <a:ext cx="2711094" cy="224295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24AFCF31-8EE3-4734-B4F7-43A7A053A79E}"/>
              </a:ext>
            </a:extLst>
          </p:cNvPr>
          <p:cNvSpPr txBox="1"/>
          <p:nvPr/>
        </p:nvSpPr>
        <p:spPr>
          <a:xfrm>
            <a:off x="1967953" y="1552467"/>
            <a:ext cx="1124888" cy="25058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defTabSz="871057">
              <a:lnSpc>
                <a:spcPct val="115000"/>
              </a:lnSpc>
              <a:spcAft>
                <a:spcPts val="953"/>
              </a:spcAft>
            </a:pPr>
            <a:r>
              <a:rPr lang="en-IN" sz="950" b="1" dirty="0">
                <a:solidFill>
                  <a:srgbClr val="66FF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GS-OSHP-2022/1</a:t>
            </a:r>
            <a:endParaRPr lang="en-IN" sz="950" dirty="0">
              <a:solidFill>
                <a:srgbClr val="66FF33"/>
              </a:solidFill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606DEB5F-9F8A-4DFA-BFF9-400E7E01E102}"/>
              </a:ext>
            </a:extLst>
          </p:cNvPr>
          <p:cNvCxnSpPr>
            <a:cxnSpLocks/>
          </p:cNvCxnSpPr>
          <p:nvPr/>
        </p:nvCxnSpPr>
        <p:spPr>
          <a:xfrm flipV="1">
            <a:off x="2206582" y="1760795"/>
            <a:ext cx="162762" cy="105311"/>
          </a:xfrm>
          <a:prstGeom prst="straightConnector1">
            <a:avLst/>
          </a:prstGeom>
          <a:ln w="9525" cap="rnd">
            <a:solidFill>
              <a:srgbClr val="66FF3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7468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EFB967-B05F-44F5-A9D5-4058FBF90A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90518" y="164078"/>
          <a:ext cx="1513" cy="1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EFB967-B05F-44F5-A9D5-4058FBF90A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90518" y="164078"/>
                        <a:ext cx="1513" cy="15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TextBox 127">
            <a:extLst>
              <a:ext uri="{FF2B5EF4-FFF2-40B4-BE49-F238E27FC236}">
                <a16:creationId xmlns:a16="http://schemas.microsoft.com/office/drawing/2014/main" id="{83748259-30C3-7C52-927C-FDB417034100}"/>
              </a:ext>
            </a:extLst>
          </p:cNvPr>
          <p:cNvSpPr txBox="1"/>
          <p:nvPr/>
        </p:nvSpPr>
        <p:spPr>
          <a:xfrm>
            <a:off x="1433039" y="4938622"/>
            <a:ext cx="522630" cy="17588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871057">
              <a:defRPr/>
            </a:pPr>
            <a:r>
              <a:rPr lang="en-US" sz="1143">
                <a:solidFill>
                  <a:prstClr val="white"/>
                </a:solidFill>
                <a:latin typeface="Trebuchet MS"/>
                <a:sym typeface="Trebuchet MS" panose="020B0603020202020204" pitchFamily="34" charset="0"/>
              </a:rPr>
              <a:t>Proven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521B285-F4E0-4F14-AC97-FEB94C8A4DB1}"/>
              </a:ext>
            </a:extLst>
          </p:cNvPr>
          <p:cNvSpPr txBox="1"/>
          <p:nvPr/>
        </p:nvSpPr>
        <p:spPr>
          <a:xfrm>
            <a:off x="842300" y="691590"/>
            <a:ext cx="5102352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it-IT" sz="2286" b="1" dirty="0">
                <a:solidFill>
                  <a:srgbClr val="FFD700"/>
                </a:solidFill>
                <a:latin typeface="Trebuchet MS"/>
              </a:rPr>
              <a:t>Block Name: </a:t>
            </a:r>
            <a:r>
              <a:rPr lang="it-IT" sz="2286" b="1" dirty="0">
                <a:solidFill>
                  <a:prstClr val="white"/>
                </a:solidFill>
                <a:latin typeface="Trebuchet MS"/>
              </a:rPr>
              <a:t>GS-OSHP-2022/2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AA2183F-9855-4500-8F5D-5A334EB21C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2994" y="4484570"/>
            <a:ext cx="5639080" cy="1461780"/>
          </a:xfrm>
          <a:prstGeom prst="rect">
            <a:avLst/>
          </a:prstGeom>
        </p:spPr>
      </p:pic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C3E0DB13-D812-41B4-A1D4-E8BBD399E0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9028437"/>
              </p:ext>
            </p:extLst>
          </p:nvPr>
        </p:nvGraphicFramePr>
        <p:xfrm>
          <a:off x="1061441" y="4951193"/>
          <a:ext cx="4842186" cy="7266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4062">
                  <a:extLst>
                    <a:ext uri="{9D8B030D-6E8A-4147-A177-3AD203B41FA5}">
                      <a16:colId xmlns:a16="http://schemas.microsoft.com/office/drawing/2014/main" val="1509538704"/>
                    </a:ext>
                  </a:extLst>
                </a:gridCol>
                <a:gridCol w="1614062">
                  <a:extLst>
                    <a:ext uri="{9D8B030D-6E8A-4147-A177-3AD203B41FA5}">
                      <a16:colId xmlns:a16="http://schemas.microsoft.com/office/drawing/2014/main" val="2097548571"/>
                    </a:ext>
                  </a:extLst>
                </a:gridCol>
                <a:gridCol w="1614062">
                  <a:extLst>
                    <a:ext uri="{9D8B030D-6E8A-4147-A177-3AD203B41FA5}">
                      <a16:colId xmlns:a16="http://schemas.microsoft.com/office/drawing/2014/main" val="1377973221"/>
                    </a:ext>
                  </a:extLst>
                </a:gridCol>
              </a:tblGrid>
              <a:tr h="380454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D (LKM)</a:t>
                      </a:r>
                      <a:endParaRPr lang="en-IN" sz="1600" dirty="0"/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D (SKM)</a:t>
                      </a:r>
                      <a:endParaRPr lang="en-IN" sz="1600" dirty="0"/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Exp. Well   </a:t>
                      </a:r>
                      <a:endParaRPr lang="en-IN" sz="1600" dirty="0"/>
                    </a:p>
                  </a:txBody>
                  <a:tcPr marL="87105" marR="87105" marT="43552" marB="43552"/>
                </a:tc>
                <a:extLst>
                  <a:ext uri="{0D108BD9-81ED-4DB2-BD59-A6C34878D82A}">
                    <a16:rowId xmlns:a16="http://schemas.microsoft.com/office/drawing/2014/main" val="7503980"/>
                  </a:ext>
                </a:extLst>
              </a:tr>
              <a:tr h="3360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7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12</a:t>
                      </a:r>
                    </a:p>
                  </a:txBody>
                  <a:tcPr marL="7259" marR="7259" marT="7259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N" sz="17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6</a:t>
                      </a:r>
                    </a:p>
                  </a:txBody>
                  <a:tcPr marL="7259" marR="7259" marT="7259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700" b="1" dirty="0"/>
                        <a:t>2</a:t>
                      </a:r>
                    </a:p>
                  </a:txBody>
                  <a:tcPr marL="87105" marR="87105" marT="43552" marB="43552"/>
                </a:tc>
                <a:extLst>
                  <a:ext uri="{0D108BD9-81ED-4DB2-BD59-A6C34878D82A}">
                    <a16:rowId xmlns:a16="http://schemas.microsoft.com/office/drawing/2014/main" val="714915456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84E09A1E-C8EE-49B5-BE6F-36B8C775260B}"/>
              </a:ext>
            </a:extLst>
          </p:cNvPr>
          <p:cNvSpPr txBox="1"/>
          <p:nvPr/>
        </p:nvSpPr>
        <p:spPr>
          <a:xfrm>
            <a:off x="1369527" y="4564131"/>
            <a:ext cx="3885242" cy="34982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/>
            <a:r>
              <a:rPr lang="it-IT" sz="1715" b="1" kern="0" dirty="0">
                <a:solidFill>
                  <a:srgbClr val="FFD700"/>
                </a:solidFill>
                <a:latin typeface="Trebuchet MS"/>
              </a:rPr>
              <a:t>Data Availability</a:t>
            </a:r>
            <a:endParaRPr lang="en-IN" sz="1715" dirty="0" err="1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13D9414-D689-4C43-AC91-2B721D7F737E}"/>
              </a:ext>
            </a:extLst>
          </p:cNvPr>
          <p:cNvSpPr txBox="1">
            <a:spLocks/>
          </p:cNvSpPr>
          <p:nvPr/>
        </p:nvSpPr>
        <p:spPr>
          <a:xfrm>
            <a:off x="6274458" y="700959"/>
            <a:ext cx="5103798" cy="47491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en-IN" sz="2286" b="1" dirty="0">
                <a:solidFill>
                  <a:srgbClr val="FFD700"/>
                </a:solidFill>
                <a:latin typeface="Trebuchet MS"/>
              </a:rPr>
              <a:t>Block Area: </a:t>
            </a:r>
            <a:r>
              <a:rPr lang="en-IN" sz="2286" b="1" dirty="0">
                <a:solidFill>
                  <a:prstClr val="white"/>
                </a:solidFill>
                <a:latin typeface="Trebuchet MS"/>
              </a:rPr>
              <a:t>5,454  SQ KM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F878A15-818C-45B8-BFE7-6200C71785BF}"/>
              </a:ext>
            </a:extLst>
          </p:cNvPr>
          <p:cNvSpPr txBox="1"/>
          <p:nvPr/>
        </p:nvSpPr>
        <p:spPr>
          <a:xfrm>
            <a:off x="8887360" y="1248506"/>
            <a:ext cx="2853033" cy="547035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02881" algn="ctr" defTabSz="871057">
              <a:lnSpc>
                <a:spcPct val="115000"/>
              </a:lnSpc>
              <a:spcBef>
                <a:spcPts val="572"/>
              </a:spcBef>
              <a:spcAft>
                <a:spcPts val="572"/>
              </a:spcAft>
            </a:pPr>
            <a:r>
              <a:rPr lang="en-IN" sz="1715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troleum System:</a:t>
            </a:r>
            <a:endParaRPr lang="en-US" sz="1524" dirty="0">
              <a:solidFill>
                <a:prstClr val="white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02881" defTabSz="871057">
              <a:lnSpc>
                <a:spcPct val="115000"/>
              </a:lnSpc>
              <a:spcBef>
                <a:spcPts val="572"/>
              </a:spcBef>
              <a:spcAft>
                <a:spcPts val="572"/>
              </a:spcAft>
            </a:pPr>
            <a:r>
              <a:rPr lang="en-IN" sz="152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ource rock: </a:t>
            </a:r>
            <a:r>
              <a:rPr lang="en-US" sz="152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alaeogene</a:t>
            </a:r>
            <a:r>
              <a:rPr lang="en-US" sz="152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shales of syn-rift stage deposited in the paleo-lows</a:t>
            </a:r>
            <a:endParaRPr lang="en-IN" sz="152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02881" defTabSz="871057">
              <a:lnSpc>
                <a:spcPct val="115000"/>
              </a:lnSpc>
              <a:spcBef>
                <a:spcPts val="572"/>
              </a:spcBef>
              <a:spcAft>
                <a:spcPts val="572"/>
              </a:spcAft>
            </a:pPr>
            <a:r>
              <a:rPr lang="en-IN" sz="152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servoir:  </a:t>
            </a:r>
            <a:r>
              <a:rPr lang="en-US" sz="152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ligocene- Miocene section in form of limestones</a:t>
            </a:r>
            <a:endParaRPr lang="en-IN" sz="152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02881" defTabSz="871057">
              <a:lnSpc>
                <a:spcPct val="115000"/>
              </a:lnSpc>
              <a:spcBef>
                <a:spcPts val="572"/>
              </a:spcBef>
              <a:spcAft>
                <a:spcPts val="572"/>
              </a:spcAft>
            </a:pPr>
            <a:r>
              <a:rPr lang="en-IN" sz="152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eal: </a:t>
            </a:r>
            <a:r>
              <a:rPr lang="en-IN" sz="152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asalt/Shale</a:t>
            </a:r>
          </a:p>
          <a:p>
            <a:pPr marL="102881" defTabSz="871057">
              <a:lnSpc>
                <a:spcPct val="115000"/>
              </a:lnSpc>
              <a:spcBef>
                <a:spcPts val="572"/>
              </a:spcBef>
              <a:spcAft>
                <a:spcPts val="572"/>
              </a:spcAft>
            </a:pPr>
            <a:r>
              <a:rPr lang="en-IN" sz="152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trapment Mechanism: </a:t>
            </a:r>
            <a:r>
              <a:rPr lang="en-IN" sz="152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Structural </a:t>
            </a:r>
          </a:p>
          <a:p>
            <a:pPr marL="102881" defTabSz="871057">
              <a:lnSpc>
                <a:spcPct val="115000"/>
              </a:lnSpc>
              <a:spcBef>
                <a:spcPts val="572"/>
              </a:spcBef>
              <a:spcAft>
                <a:spcPts val="572"/>
              </a:spcAft>
            </a:pPr>
            <a:r>
              <a:rPr lang="en-IN" sz="152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visaged plays: </a:t>
            </a:r>
            <a:r>
              <a:rPr lang="en-US" sz="152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arly Miocene carbonates, Late Oligocene carbonates</a:t>
            </a:r>
            <a:r>
              <a:rPr lang="en-IN" sz="152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marL="102881" defTabSz="871057">
              <a:lnSpc>
                <a:spcPct val="115000"/>
              </a:lnSpc>
              <a:spcBef>
                <a:spcPts val="572"/>
              </a:spcBef>
              <a:spcAft>
                <a:spcPts val="572"/>
              </a:spcAft>
            </a:pPr>
            <a:r>
              <a:rPr lang="en-IN" sz="152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visaged Petroleum system: </a:t>
            </a:r>
            <a:r>
              <a:rPr lang="en-IN" sz="152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ocene-Oligocene-Miocene carbonate Pla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B144D26-435E-49FF-B7B2-02C5F557FB71}"/>
              </a:ext>
            </a:extLst>
          </p:cNvPr>
          <p:cNvSpPr txBox="1"/>
          <p:nvPr/>
        </p:nvSpPr>
        <p:spPr>
          <a:xfrm>
            <a:off x="1155894" y="6120585"/>
            <a:ext cx="4747733" cy="58477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defTabSz="871057"/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arget </a:t>
            </a:r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cs typeface="Mangal" panose="02040503050203030202" pitchFamily="18" charset="0"/>
              </a:rPr>
              <a:t>plays</a:t>
            </a:r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rly Miocene carbonates, Late Oligocene carbonates. 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5DACEF30-3F59-40C8-AA6E-5149470798B3}"/>
              </a:ext>
            </a:extLst>
          </p:cNvPr>
          <p:cNvSpPr txBox="1"/>
          <p:nvPr/>
        </p:nvSpPr>
        <p:spPr>
          <a:xfrm>
            <a:off x="1125151" y="3792797"/>
            <a:ext cx="1596539" cy="2827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871057">
              <a:lnSpc>
                <a:spcPct val="115000"/>
              </a:lnSpc>
              <a:spcAft>
                <a:spcPts val="953"/>
              </a:spcAft>
            </a:pPr>
            <a:r>
              <a:rPr lang="en-IN" sz="1143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ocation Map</a:t>
            </a:r>
            <a:endParaRPr lang="en-IN" sz="1048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9729334-62CD-4035-9CD6-DE32B2B9ED7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/>
          <a:stretch/>
        </p:blipFill>
        <p:spPr>
          <a:xfrm>
            <a:off x="3312715" y="1213281"/>
            <a:ext cx="5253464" cy="287446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F1F266A6-AA49-492F-A4DF-ECB295F5B795}"/>
              </a:ext>
            </a:extLst>
          </p:cNvPr>
          <p:cNvSpPr txBox="1"/>
          <p:nvPr/>
        </p:nvSpPr>
        <p:spPr>
          <a:xfrm>
            <a:off x="4530630" y="4089327"/>
            <a:ext cx="2069411" cy="2827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defTabSz="871057">
              <a:lnSpc>
                <a:spcPct val="115000"/>
              </a:lnSpc>
              <a:spcAft>
                <a:spcPts val="953"/>
              </a:spcAft>
            </a:pPr>
            <a:r>
              <a:rPr lang="en-US" sz="1143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ative Seismic Section</a:t>
            </a:r>
            <a:endParaRPr lang="en-IN" sz="1143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610AD02-2F6F-4E52-9414-E3AC2A00082B}"/>
              </a:ext>
            </a:extLst>
          </p:cNvPr>
          <p:cNvGrpSpPr/>
          <p:nvPr/>
        </p:nvGrpSpPr>
        <p:grpSpPr>
          <a:xfrm>
            <a:off x="6603858" y="4174285"/>
            <a:ext cx="2125456" cy="2638828"/>
            <a:chOff x="6159392" y="1330273"/>
            <a:chExt cx="1794216" cy="2526043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130FA2AB-A2A6-4E3E-B61F-707F5927BCEF}"/>
                </a:ext>
              </a:extLst>
            </p:cNvPr>
            <p:cNvGrpSpPr/>
            <p:nvPr/>
          </p:nvGrpSpPr>
          <p:grpSpPr>
            <a:xfrm>
              <a:off x="6159392" y="1330273"/>
              <a:ext cx="1794216" cy="2526043"/>
              <a:chOff x="7107300" y="4040153"/>
              <a:chExt cx="1883511" cy="2651760"/>
            </a:xfrm>
          </p:grpSpPr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DD59515A-8FDF-4A50-980C-7FFA0C6D13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107300" y="4040153"/>
                <a:ext cx="1883511" cy="2651760"/>
              </a:xfrm>
              <a:prstGeom prst="rect">
                <a:avLst/>
              </a:prstGeom>
            </p:spPr>
          </p:pic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A2F64784-086D-4485-9CE6-D5CD865079B8}"/>
                  </a:ext>
                </a:extLst>
              </p:cNvPr>
              <p:cNvSpPr txBox="1"/>
              <p:nvPr/>
            </p:nvSpPr>
            <p:spPr>
              <a:xfrm>
                <a:off x="7996837" y="6372296"/>
                <a:ext cx="768559" cy="288716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/>
                <a:r>
                  <a:rPr lang="en-US" sz="1143" b="1" dirty="0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Base Map</a:t>
                </a:r>
                <a:endParaRPr lang="en-IN" sz="1143" b="1" dirty="0" err="1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603BCE6-916C-49E7-A46D-2601E4EA41CB}"/>
                </a:ext>
              </a:extLst>
            </p:cNvPr>
            <p:cNvGrpSpPr/>
            <p:nvPr/>
          </p:nvGrpSpPr>
          <p:grpSpPr>
            <a:xfrm>
              <a:off x="6589194" y="1416874"/>
              <a:ext cx="835126" cy="119794"/>
              <a:chOff x="6486800" y="1032849"/>
              <a:chExt cx="835126" cy="119794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C300E4AD-77F4-43AE-96A6-3C752A687CAF}"/>
                  </a:ext>
                </a:extLst>
              </p:cNvPr>
              <p:cNvSpPr/>
              <p:nvPr/>
            </p:nvSpPr>
            <p:spPr>
              <a:xfrm>
                <a:off x="6486800" y="1032849"/>
                <a:ext cx="835126" cy="119794"/>
              </a:xfrm>
              <a:prstGeom prst="rect">
                <a:avLst/>
              </a:prstGeom>
              <a:solidFill>
                <a:srgbClr val="FFFF99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CF4D40BB-6174-4B19-93BA-BD04E7316499}"/>
                  </a:ext>
                </a:extLst>
              </p:cNvPr>
              <p:cNvSpPr txBox="1"/>
              <p:nvPr/>
            </p:nvSpPr>
            <p:spPr>
              <a:xfrm>
                <a:off x="6568634" y="1036652"/>
                <a:ext cx="726114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accent1">
                        <a:lumMod val="75000"/>
                        <a:lumOff val="25000"/>
                      </a:schemeClr>
                    </a:solidFill>
                  </a:rPr>
                  <a:t>GS-OSHP-2022/2</a:t>
                </a:r>
              </a:p>
            </p:txBody>
          </p:sp>
        </p:grp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DA6304E-D55A-4FCD-A250-3849B91ABADF}"/>
              </a:ext>
            </a:extLst>
          </p:cNvPr>
          <p:cNvCxnSpPr/>
          <p:nvPr/>
        </p:nvCxnSpPr>
        <p:spPr>
          <a:xfrm>
            <a:off x="31554" y="579604"/>
            <a:ext cx="12124944" cy="0"/>
          </a:xfrm>
          <a:prstGeom prst="line">
            <a:avLst/>
          </a:prstGeom>
          <a:ln w="101600" cap="rnd" cmpd="thinThick">
            <a:solidFill>
              <a:schemeClr val="tx2">
                <a:lumMod val="5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F27C89E-6330-4D90-9CC9-E0CBD1ACAFFE}"/>
              </a:ext>
            </a:extLst>
          </p:cNvPr>
          <p:cNvSpPr txBox="1"/>
          <p:nvPr/>
        </p:nvSpPr>
        <p:spPr>
          <a:xfrm>
            <a:off x="4051029" y="145886"/>
            <a:ext cx="4094050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>
            <a:spAutoFit/>
          </a:bodyPr>
          <a:lstStyle/>
          <a:p>
            <a:pPr algn="ctr" defTabSz="871057">
              <a:defRPr/>
            </a:pPr>
            <a:r>
              <a:rPr lang="en-US" sz="2400" b="1" dirty="0">
                <a:solidFill>
                  <a:srgbClr val="000066"/>
                </a:solidFill>
                <a:latin typeface="Trebuchet MS"/>
              </a:rPr>
              <a:t>Saurashtra Basin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B2C2B8FA-0183-48CA-A3F7-5178DD398C76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6" t="3657" r="4846" b="6625"/>
          <a:stretch/>
        </p:blipFill>
        <p:spPr>
          <a:xfrm>
            <a:off x="536931" y="1459100"/>
            <a:ext cx="2711094" cy="224295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98A0965B-EABD-41A3-BF7A-16A61C9B39D3}"/>
              </a:ext>
            </a:extLst>
          </p:cNvPr>
          <p:cNvSpPr txBox="1"/>
          <p:nvPr/>
        </p:nvSpPr>
        <p:spPr>
          <a:xfrm>
            <a:off x="2130558" y="2910331"/>
            <a:ext cx="1103134" cy="25058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 defTabSz="871057">
              <a:lnSpc>
                <a:spcPct val="115000"/>
              </a:lnSpc>
              <a:spcAft>
                <a:spcPts val="953"/>
              </a:spcAft>
            </a:pPr>
            <a:r>
              <a:rPr lang="en-IN" sz="950" b="1" dirty="0">
                <a:solidFill>
                  <a:srgbClr val="66FF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GS-OSHP-2022/2</a:t>
            </a:r>
            <a:endParaRPr lang="en-IN" sz="950" dirty="0">
              <a:solidFill>
                <a:srgbClr val="66FF33"/>
              </a:solidFill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C70448AE-EC37-489A-9721-D7EB5791F62B}"/>
              </a:ext>
            </a:extLst>
          </p:cNvPr>
          <p:cNvCxnSpPr>
            <a:cxnSpLocks/>
          </p:cNvCxnSpPr>
          <p:nvPr/>
        </p:nvCxnSpPr>
        <p:spPr>
          <a:xfrm flipH="1">
            <a:off x="2692311" y="2735259"/>
            <a:ext cx="242439" cy="221120"/>
          </a:xfrm>
          <a:prstGeom prst="straightConnector1">
            <a:avLst/>
          </a:prstGeom>
          <a:ln w="9525" cap="rnd">
            <a:solidFill>
              <a:srgbClr val="66FF33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37024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EFB967-B05F-44F5-A9D5-4058FBF90A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90518" y="164078"/>
          <a:ext cx="1513" cy="1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EFB967-B05F-44F5-A9D5-4058FBF90A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90518" y="164078"/>
                        <a:ext cx="1513" cy="15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: Top Corners Rounded 41">
            <a:extLst>
              <a:ext uri="{FF2B5EF4-FFF2-40B4-BE49-F238E27FC236}">
                <a16:creationId xmlns:a16="http://schemas.microsoft.com/office/drawing/2014/main" id="{CB95A472-00F9-9AE2-A8BE-ACE54EC085E7}"/>
              </a:ext>
            </a:extLst>
          </p:cNvPr>
          <p:cNvSpPr/>
          <p:nvPr/>
        </p:nvSpPr>
        <p:spPr>
          <a:xfrm rot="5400000">
            <a:off x="978586" y="3839288"/>
            <a:ext cx="297911" cy="479380"/>
          </a:xfrm>
          <a:prstGeom prst="round2SameRect">
            <a:avLst>
              <a:gd name="adj1" fmla="val 23391"/>
              <a:gd name="adj2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endParaRPr lang="en-US" sz="1143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45" name="Rectangle: Top Corners Rounded 44">
            <a:extLst>
              <a:ext uri="{FF2B5EF4-FFF2-40B4-BE49-F238E27FC236}">
                <a16:creationId xmlns:a16="http://schemas.microsoft.com/office/drawing/2014/main" id="{F12596A7-D9AA-1D7A-BB5C-7B5E1548F3DE}"/>
              </a:ext>
            </a:extLst>
          </p:cNvPr>
          <p:cNvSpPr/>
          <p:nvPr/>
        </p:nvSpPr>
        <p:spPr>
          <a:xfrm rot="5400000">
            <a:off x="68219" y="5071762"/>
            <a:ext cx="2117135" cy="477867"/>
          </a:xfrm>
          <a:prstGeom prst="round2SameRect">
            <a:avLst>
              <a:gd name="adj1" fmla="val 9689"/>
              <a:gd name="adj2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endParaRPr lang="en-US" sz="1143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52" name="ee4pHeader2">
            <a:extLst>
              <a:ext uri="{FF2B5EF4-FFF2-40B4-BE49-F238E27FC236}">
                <a16:creationId xmlns:a16="http://schemas.microsoft.com/office/drawing/2014/main" id="{E0DD4DA2-6C5D-F640-2CF2-6BE07914EED7}"/>
              </a:ext>
            </a:extLst>
          </p:cNvPr>
          <p:cNvSpPr txBox="1"/>
          <p:nvPr/>
        </p:nvSpPr>
        <p:spPr>
          <a:xfrm>
            <a:off x="887853" y="3514156"/>
            <a:ext cx="4989073" cy="22986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 defTabSz="871057">
              <a:defRPr/>
            </a:pPr>
            <a:r>
              <a:rPr lang="en-US" sz="1524" b="1" dirty="0">
                <a:solidFill>
                  <a:srgbClr val="264796"/>
                </a:solidFill>
                <a:latin typeface="Trebuchet MS"/>
              </a:rPr>
              <a:t>Basin's risked resource potential – 299 MMTOE</a:t>
            </a:r>
          </a:p>
        </p:txBody>
      </p:sp>
      <p:graphicFrame>
        <p:nvGraphicFramePr>
          <p:cNvPr id="82" name="Chart 81">
            <a:extLst>
              <a:ext uri="{FF2B5EF4-FFF2-40B4-BE49-F238E27FC236}">
                <a16:creationId xmlns:a16="http://schemas.microsoft.com/office/drawing/2014/main" id="{C609B33B-931C-410E-9F7D-F5E1B64064D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051986"/>
              </p:ext>
            </p:extLst>
          </p:nvPr>
        </p:nvGraphicFramePr>
        <p:xfrm>
          <a:off x="3442024" y="3852899"/>
          <a:ext cx="2507291" cy="25934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0DCF1412-9D14-208F-55A3-F4F23CDA38A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749419" y="4612043"/>
            <a:ext cx="644213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40AF3E9C-5986-41D3-911E-610B3D7A05A6}" type="datetime'''0''''''''''''''2'''' ''''M''I''''''''''''''''''''O''CENE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2 MIOCENE</a:t>
            </a:fld>
            <a:endParaRPr lang="en-US" sz="953">
              <a:latin typeface="Trebuchet MS"/>
            </a:endParaRPr>
          </a:p>
        </p:txBody>
      </p:sp>
      <p:sp>
        <p:nvSpPr>
          <p:cNvPr id="109" name="Text Placeholder 3">
            <a:extLst>
              <a:ext uri="{FF2B5EF4-FFF2-40B4-BE49-F238E27FC236}">
                <a16:creationId xmlns:a16="http://schemas.microsoft.com/office/drawing/2014/main" id="{EBA867C6-3EB9-90BA-0F76-5BDF93B1D34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803859" y="5829395"/>
            <a:ext cx="589773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8FB4345B-62A7-4AE8-A6B3-54CC7477E574}" type="datetime'0''''''''6 ''''E''''''O''''''''''''''C''''''''E''N''''''E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6 EOCENE</a:t>
            </a:fld>
            <a:endParaRPr lang="en-US" sz="953">
              <a:latin typeface="Trebuchet MS"/>
            </a:endParaRPr>
          </a:p>
        </p:txBody>
      </p:sp>
      <p:sp>
        <p:nvSpPr>
          <p:cNvPr id="108" name="Text Placeholder 3">
            <a:extLst>
              <a:ext uri="{FF2B5EF4-FFF2-40B4-BE49-F238E27FC236}">
                <a16:creationId xmlns:a16="http://schemas.microsoft.com/office/drawing/2014/main" id="{DED3BB2B-7D65-7F98-E098-B97FE104D79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610293" y="5525435"/>
            <a:ext cx="783339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9FC6CAE5-02F2-4B6B-9E07-C38774155647}" type="datetime'''0''5'' O''''''''''''LIG''''''OC''''EN''''''''''''''E''''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5 OLIGOCENE</a:t>
            </a:fld>
            <a:endParaRPr lang="en-US" sz="953">
              <a:latin typeface="Trebuchet MS"/>
            </a:endParaRPr>
          </a:p>
        </p:txBody>
      </p: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33E2590D-130A-742A-CECA-AE7F704FDF4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525607" y="4002611"/>
            <a:ext cx="868025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FB20F806-04DA-481E-BA2C-4BD74BE39A86}" type="datetime'0''8'' ''CRE''''''''''''''''''''''''''''TAC''''''EO''U''''''S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8 CRETACEOUS</a:t>
            </a:fld>
            <a:endParaRPr lang="en-US" sz="953">
              <a:latin typeface="Trebuchet MS"/>
            </a:endParaRP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57A35A84-73CD-55DB-505F-A19AAB99C00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705563" y="4306571"/>
            <a:ext cx="688069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572E22D1-D381-4E29-9509-1C55AF316256}" type="datetime'01'''''''' ''P''''L''''''''''I''''''''''O''''''''''CENE''''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1 PLIOCENE</a:t>
            </a:fld>
            <a:endParaRPr lang="en-US" sz="953">
              <a:latin typeface="Trebuchet MS"/>
            </a:endParaRP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1469D2AE-F0FE-C691-4781-3DE6A81C14D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715048" y="4916003"/>
            <a:ext cx="1678584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AF4FAA47-DA50-4DBC-B97C-F54AD330E089}" type="datetime'0''3 ''MIO''CEN''E_MI''''''DDL''''E''''_B''I''''O''GENIC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3 MIOCENE_MIDDLE_BIOGENIC</a:t>
            </a:fld>
            <a:endParaRPr lang="en-US" sz="953">
              <a:latin typeface="Trebuchet M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B20652D2-06F3-77AC-B6E7-62C106A2873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525123" y="6154945"/>
            <a:ext cx="45720" cy="91440"/>
          </a:xfrm>
          <a:prstGeom prst="rect">
            <a:avLst/>
          </a:prstGeom>
          <a:solidFill>
            <a:srgbClr val="32B842"/>
          </a:solidFill>
          <a:ln>
            <a:noFill/>
          </a:ln>
          <a:effectLst/>
        </p:spPr>
        <p:txBody>
          <a:bodyPr vert="horz" wrap="none" lIns="24196" tIns="0" rIns="2419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871057">
              <a:spcBef>
                <a:spcPct val="0"/>
              </a:spcBef>
              <a:spcAft>
                <a:spcPct val="0"/>
              </a:spcAft>
              <a:defRPr/>
            </a:pPr>
            <a:fld id="{20520163-8295-4D30-9BCD-19B30B1606F3}" type="datetime'''''3'''''''''''''''''''''''''''''''''''">
              <a:rPr lang="en-US" altLang="en-US" sz="953">
                <a:latin typeface="Trebuchet MS"/>
              </a:rPr>
              <a:pPr algn="ctr" defTabSz="871057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 sz="953" dirty="0">
              <a:latin typeface="Trebuchet MS"/>
            </a:endParaRPr>
          </a:p>
        </p:txBody>
      </p:sp>
      <p:sp>
        <p:nvSpPr>
          <p:cNvPr id="63" name="Text Placeholder 3">
            <a:extLst>
              <a:ext uri="{FF2B5EF4-FFF2-40B4-BE49-F238E27FC236}">
                <a16:creationId xmlns:a16="http://schemas.microsoft.com/office/drawing/2014/main" id="{1789D7F1-3E2F-8E0A-6630-0D9FE3FFEE3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551726" y="5229034"/>
            <a:ext cx="1841906" cy="145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fld id="{DD94D424-3D17-4EF2-9EFC-9B3B8F23BB05}" type="datetime'''''0''4'' MI''''OC''''''EN''E_''M''IDD''LE_THE''RMOGENIC'''''">
              <a:rPr lang="en-US" altLang="en-US" sz="953" spc="-29">
                <a:latin typeface="Trebuchet MS"/>
              </a:rPr>
              <a:pPr algn="r" defTabSz="871057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04 MIOCENE_MIDDLE_THERMOGENIC</a:t>
            </a:fld>
            <a:endParaRPr lang="en-US" sz="953" spc="-29">
              <a:latin typeface="Trebuchet M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4D6ABF62-CE0A-135E-1356-A1A3A6624EF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602731" y="6134867"/>
            <a:ext cx="790901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 defTabSz="871057">
              <a:spcBef>
                <a:spcPct val="0"/>
              </a:spcBef>
              <a:spcAft>
                <a:spcPct val="0"/>
              </a:spcAft>
              <a:defRPr/>
            </a:pPr>
            <a:fld id="{46AFAE69-E28B-452C-A9B2-201BCD807050}" type="datetime'''''''''''''''0''''''7 PALE''''''''''''O''C''''E''''''NE'''''">
              <a:rPr lang="en-US" altLang="en-US" sz="953">
                <a:latin typeface="Trebuchet MS"/>
              </a:rPr>
              <a:pPr algn="r" defTabSz="871057">
                <a:spcBef>
                  <a:spcPct val="0"/>
                </a:spcBef>
                <a:spcAft>
                  <a:spcPct val="0"/>
                </a:spcAft>
                <a:defRPr/>
              </a:pPr>
              <a:t>07 PALEOCENE</a:t>
            </a:fld>
            <a:endParaRPr lang="en-US" sz="953">
              <a:latin typeface="Trebuchet MS"/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058BB54-DFEA-3343-E41A-C3CC2318F294}"/>
              </a:ext>
            </a:extLst>
          </p:cNvPr>
          <p:cNvCxnSpPr>
            <a:cxnSpLocks/>
          </p:cNvCxnSpPr>
          <p:nvPr/>
        </p:nvCxnSpPr>
        <p:spPr>
          <a:xfrm flipH="1">
            <a:off x="887853" y="3799970"/>
            <a:ext cx="4989073" cy="0"/>
          </a:xfrm>
          <a:prstGeom prst="line">
            <a:avLst/>
          </a:prstGeom>
          <a:ln w="9525" cap="rnd">
            <a:solidFill>
              <a:schemeClr val="accent5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oup 67">
            <a:extLst>
              <a:ext uri="{FF2B5EF4-FFF2-40B4-BE49-F238E27FC236}">
                <a16:creationId xmlns:a16="http://schemas.microsoft.com/office/drawing/2014/main" id="{CDEF8D56-54C0-990F-8B7A-562292778F34}"/>
              </a:ext>
            </a:extLst>
          </p:cNvPr>
          <p:cNvGrpSpPr/>
          <p:nvPr/>
        </p:nvGrpSpPr>
        <p:grpSpPr>
          <a:xfrm rot="5400000">
            <a:off x="7478055" y="2598808"/>
            <a:ext cx="2593490" cy="5462800"/>
            <a:chOff x="424729" y="1165597"/>
            <a:chExt cx="2223089" cy="5596622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80B61667-1753-B5A8-AF54-5525BD08AFEB}"/>
                </a:ext>
              </a:extLst>
            </p:cNvPr>
            <p:cNvCxnSpPr>
              <a:cxnSpLocks/>
            </p:cNvCxnSpPr>
            <p:nvPr/>
          </p:nvCxnSpPr>
          <p:spPr>
            <a:xfrm>
              <a:off x="628197" y="1165597"/>
              <a:ext cx="453" cy="5596622"/>
            </a:xfrm>
            <a:prstGeom prst="line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364A72FE-AD46-52D3-B350-CADA923B8C37}"/>
                </a:ext>
              </a:extLst>
            </p:cNvPr>
            <p:cNvGrpSpPr/>
            <p:nvPr/>
          </p:nvGrpSpPr>
          <p:grpSpPr>
            <a:xfrm>
              <a:off x="424729" y="1446085"/>
              <a:ext cx="2223089" cy="5035647"/>
              <a:chOff x="424731" y="1593204"/>
              <a:chExt cx="2150517" cy="4644729"/>
            </a:xfrm>
          </p:grpSpPr>
          <p:sp>
            <p:nvSpPr>
              <p:cNvPr id="73" name="Rectangle: Top Corners Rounded 72">
                <a:extLst>
                  <a:ext uri="{FF2B5EF4-FFF2-40B4-BE49-F238E27FC236}">
                    <a16:creationId xmlns:a16="http://schemas.microsoft.com/office/drawing/2014/main" id="{8450768D-F06F-BD2A-FF2C-E696F157A247}"/>
                  </a:ext>
                </a:extLst>
              </p:cNvPr>
              <p:cNvSpPr/>
              <p:nvPr/>
            </p:nvSpPr>
            <p:spPr>
              <a:xfrm rot="5400000">
                <a:off x="-727327" y="2935357"/>
                <a:ext cx="4549092" cy="2056059"/>
              </a:xfrm>
              <a:prstGeom prst="round2SameRect">
                <a:avLst>
                  <a:gd name="adj1" fmla="val 11574"/>
                  <a:gd name="adj2" fmla="val 0"/>
                </a:avLst>
              </a:prstGeom>
              <a:solidFill>
                <a:schemeClr val="accent1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0883">
                  <a:defRPr/>
                </a:pPr>
                <a:endParaRPr lang="en-US" sz="1524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74" name="Rectangle: Top Corners Rounded 73">
                <a:extLst>
                  <a:ext uri="{FF2B5EF4-FFF2-40B4-BE49-F238E27FC236}">
                    <a16:creationId xmlns:a16="http://schemas.microsoft.com/office/drawing/2014/main" id="{4517C3FC-3B9D-8816-ED6E-AB580371D9A0}"/>
                  </a:ext>
                </a:extLst>
              </p:cNvPr>
              <p:cNvSpPr/>
              <p:nvPr/>
            </p:nvSpPr>
            <p:spPr>
              <a:xfrm rot="5400000">
                <a:off x="-853362" y="2871297"/>
                <a:ext cx="4632058" cy="2075872"/>
              </a:xfrm>
              <a:prstGeom prst="round2SameRect">
                <a:avLst>
                  <a:gd name="adj1" fmla="val 11574"/>
                  <a:gd name="adj2" fmla="val 0"/>
                </a:avLst>
              </a:prstGeom>
              <a:solidFill>
                <a:schemeClr val="tx2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0883">
                  <a:defRPr/>
                </a:pPr>
                <a:endParaRPr lang="en-US" sz="1524">
                  <a:solidFill>
                    <a:srgbClr val="FFFFFF"/>
                  </a:solidFill>
                  <a:latin typeface="Trebuchet MS"/>
                </a:endParaRPr>
              </a:p>
            </p:txBody>
          </p:sp>
        </p:grpSp>
        <p:sp>
          <p:nvSpPr>
            <p:cNvPr id="71" name="Right Triangle 70">
              <a:extLst>
                <a:ext uri="{FF2B5EF4-FFF2-40B4-BE49-F238E27FC236}">
                  <a16:creationId xmlns:a16="http://schemas.microsoft.com/office/drawing/2014/main" id="{A956C8E9-B5BC-08B2-2F7A-287AE71B3A86}"/>
                </a:ext>
              </a:extLst>
            </p:cNvPr>
            <p:cNvSpPr/>
            <p:nvPr/>
          </p:nvSpPr>
          <p:spPr>
            <a:xfrm flipH="1">
              <a:off x="424729" y="1223131"/>
              <a:ext cx="203468" cy="222955"/>
            </a:xfrm>
            <a:prstGeom prst="rtTriangle">
              <a:avLst/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0883">
                <a:defRPr/>
              </a:pPr>
              <a:endParaRPr lang="en-US" sz="1524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72" name="Right Triangle 71">
              <a:extLst>
                <a:ext uri="{FF2B5EF4-FFF2-40B4-BE49-F238E27FC236}">
                  <a16:creationId xmlns:a16="http://schemas.microsoft.com/office/drawing/2014/main" id="{FAB5DE38-7750-90C9-F9B3-4BCED852B298}"/>
                </a:ext>
              </a:extLst>
            </p:cNvPr>
            <p:cNvSpPr/>
            <p:nvPr/>
          </p:nvSpPr>
          <p:spPr>
            <a:xfrm flipH="1" flipV="1">
              <a:off x="424729" y="6466492"/>
              <a:ext cx="203468" cy="222955"/>
            </a:xfrm>
            <a:prstGeom prst="rtTriangle">
              <a:avLst/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0883">
                <a:defRPr/>
              </a:pPr>
              <a:endParaRPr lang="en-US" sz="1524">
                <a:solidFill>
                  <a:srgbClr val="FFFFFF"/>
                </a:solidFill>
                <a:latin typeface="Trebuchet MS"/>
              </a:endParaRP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5E33D833-276D-2441-BE3A-B10EC59782A6}"/>
              </a:ext>
            </a:extLst>
          </p:cNvPr>
          <p:cNvSpPr txBox="1"/>
          <p:nvPr/>
        </p:nvSpPr>
        <p:spPr>
          <a:xfrm>
            <a:off x="6525946" y="4562097"/>
            <a:ext cx="4391996" cy="18225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241294" indent="-241294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  <a:defRPr sz="1400"/>
            </a:lvl1pPr>
          </a:lstStyle>
          <a:p>
            <a:pPr marL="375086" lvl="1" indent="-272205" defTabSz="871057">
              <a:spcAft>
                <a:spcPts val="1143"/>
              </a:spcAft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430" b="1" dirty="0">
                <a:solidFill>
                  <a:srgbClr val="FFD700"/>
                </a:solidFill>
                <a:latin typeface="Trebuchet MS"/>
              </a:rPr>
              <a:t>Strong analogy </a:t>
            </a:r>
            <a:r>
              <a:rPr lang="en-US" sz="1430" b="1" dirty="0">
                <a:solidFill>
                  <a:prstClr val="white"/>
                </a:solidFill>
                <a:latin typeface="Trebuchet MS"/>
              </a:rPr>
              <a:t>with easterly </a:t>
            </a:r>
            <a:r>
              <a:rPr lang="en-US" sz="1430" b="1" dirty="0">
                <a:solidFill>
                  <a:srgbClr val="FFD700"/>
                </a:solidFill>
                <a:latin typeface="Trebuchet MS"/>
              </a:rPr>
              <a:t>Bengal offshore </a:t>
            </a:r>
            <a:r>
              <a:rPr lang="en-US" sz="1430" b="1" dirty="0">
                <a:solidFill>
                  <a:prstClr val="white"/>
                </a:solidFill>
                <a:latin typeface="Trebuchet MS"/>
              </a:rPr>
              <a:t>that has numerous </a:t>
            </a:r>
            <a:r>
              <a:rPr lang="en-US" sz="1430" b="1" dirty="0">
                <a:solidFill>
                  <a:srgbClr val="FFD700"/>
                </a:solidFill>
                <a:latin typeface="Trebuchet MS"/>
              </a:rPr>
              <a:t>small-to-medium discoveries</a:t>
            </a:r>
            <a:endParaRPr lang="en-US" sz="1430" b="1" dirty="0">
              <a:solidFill>
                <a:prstClr val="white"/>
              </a:solidFill>
              <a:latin typeface="Trebuchet MS"/>
            </a:endParaRPr>
          </a:p>
          <a:p>
            <a:pPr marL="375086" lvl="1" indent="-272205" defTabSz="871057">
              <a:spcAft>
                <a:spcPts val="1143"/>
              </a:spcAft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430" b="1" dirty="0">
                <a:solidFill>
                  <a:prstClr val="white"/>
                </a:solidFill>
                <a:latin typeface="Trebuchet MS"/>
              </a:rPr>
              <a:t>Discovered </a:t>
            </a:r>
            <a:r>
              <a:rPr lang="en-US" sz="1430" b="1" dirty="0">
                <a:solidFill>
                  <a:srgbClr val="FFD700"/>
                </a:solidFill>
                <a:latin typeface="Trebuchet MS"/>
              </a:rPr>
              <a:t>Miocene</a:t>
            </a:r>
            <a:r>
              <a:rPr lang="en-US" sz="1430" b="1" dirty="0">
                <a:solidFill>
                  <a:prstClr val="white"/>
                </a:solidFill>
                <a:latin typeface="Trebuchet MS"/>
              </a:rPr>
              <a:t> play occurs as discrete and stacked reservoirs</a:t>
            </a:r>
          </a:p>
          <a:p>
            <a:pPr marL="375086" lvl="1" indent="-272205" defTabSz="871057">
              <a:spcAft>
                <a:spcPts val="1143"/>
              </a:spcAft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430" b="1" dirty="0">
                <a:solidFill>
                  <a:prstClr val="white"/>
                </a:solidFill>
                <a:latin typeface="Trebuchet MS"/>
              </a:rPr>
              <a:t>Opportunity to explore significant prospective resource of </a:t>
            </a:r>
            <a:r>
              <a:rPr lang="en-US" sz="1430" b="1" dirty="0">
                <a:solidFill>
                  <a:srgbClr val="FFD700"/>
                </a:solidFill>
                <a:latin typeface="Trebuchet MS"/>
              </a:rPr>
              <a:t>Pliocene Pla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226CE44-84F5-48C0-9EA6-1A96EC4A2F72}"/>
              </a:ext>
            </a:extLst>
          </p:cNvPr>
          <p:cNvGrpSpPr/>
          <p:nvPr/>
        </p:nvGrpSpPr>
        <p:grpSpPr>
          <a:xfrm>
            <a:off x="1715048" y="761276"/>
            <a:ext cx="8671967" cy="3139207"/>
            <a:chOff x="2822005" y="1037501"/>
            <a:chExt cx="7565010" cy="3139207"/>
          </a:xfrm>
        </p:grpSpPr>
        <p:pic>
          <p:nvPicPr>
            <p:cNvPr id="99" name="Picture 98">
              <a:extLst>
                <a:ext uri="{FF2B5EF4-FFF2-40B4-BE49-F238E27FC236}">
                  <a16:creationId xmlns:a16="http://schemas.microsoft.com/office/drawing/2014/main" id="{243CAD70-6C50-B924-26EB-ACFF2F9DF916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21"/>
            <a:srcRect l="413" r="413"/>
            <a:stretch/>
          </p:blipFill>
          <p:spPr>
            <a:xfrm>
              <a:off x="7315200" y="1037501"/>
              <a:ext cx="3071815" cy="313920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3EBA4F1-1C28-AEA0-E59C-86F29180DD44}"/>
                </a:ext>
              </a:extLst>
            </p:cNvPr>
            <p:cNvGrpSpPr/>
            <p:nvPr/>
          </p:nvGrpSpPr>
          <p:grpSpPr>
            <a:xfrm>
              <a:off x="4564082" y="2977105"/>
              <a:ext cx="796946" cy="595820"/>
              <a:chOff x="4891630" y="2839739"/>
              <a:chExt cx="836071" cy="626278"/>
            </a:xfrm>
          </p:grpSpPr>
          <p:sp>
            <p:nvSpPr>
              <p:cNvPr id="9" name="Right Triangle 8">
                <a:extLst>
                  <a:ext uri="{FF2B5EF4-FFF2-40B4-BE49-F238E27FC236}">
                    <a16:creationId xmlns:a16="http://schemas.microsoft.com/office/drawing/2014/main" id="{62892CE6-05FD-0967-D2FA-8563C6873ED1}"/>
                  </a:ext>
                </a:extLst>
              </p:cNvPr>
              <p:cNvSpPr/>
              <p:nvPr/>
            </p:nvSpPr>
            <p:spPr>
              <a:xfrm rot="16200000">
                <a:off x="4868177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0" name="Right Triangle 9">
                <a:extLst>
                  <a:ext uri="{FF2B5EF4-FFF2-40B4-BE49-F238E27FC236}">
                    <a16:creationId xmlns:a16="http://schemas.microsoft.com/office/drawing/2014/main" id="{DDFB32BA-2ED8-EF84-8E64-93A681508E26}"/>
                  </a:ext>
                </a:extLst>
              </p:cNvPr>
              <p:cNvSpPr/>
              <p:nvPr/>
            </p:nvSpPr>
            <p:spPr>
              <a:xfrm rot="5400000" flipH="1">
                <a:off x="5607953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1" name="Rectangle: Top Corners Rounded 10">
                <a:extLst>
                  <a:ext uri="{FF2B5EF4-FFF2-40B4-BE49-F238E27FC236}">
                    <a16:creationId xmlns:a16="http://schemas.microsoft.com/office/drawing/2014/main" id="{0A72F2C0-7210-CF66-E18F-631C75E09840}"/>
                  </a:ext>
                </a:extLst>
              </p:cNvPr>
              <p:cNvSpPr/>
              <p:nvPr/>
            </p:nvSpPr>
            <p:spPr>
              <a:xfrm flipV="1">
                <a:off x="4891630" y="3007842"/>
                <a:ext cx="836070" cy="458175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2" name="Rectangle: Top Corners Rounded 11">
                <a:extLst>
                  <a:ext uri="{FF2B5EF4-FFF2-40B4-BE49-F238E27FC236}">
                    <a16:creationId xmlns:a16="http://schemas.microsoft.com/office/drawing/2014/main" id="{9A7E9509-5B78-C4CC-6B02-94C1E84E6276}"/>
                  </a:ext>
                </a:extLst>
              </p:cNvPr>
              <p:cNvSpPr/>
              <p:nvPr/>
            </p:nvSpPr>
            <p:spPr>
              <a:xfrm flipV="1">
                <a:off x="4891630" y="2972282"/>
                <a:ext cx="836070" cy="458175"/>
              </a:xfrm>
              <a:prstGeom prst="round2SameRect">
                <a:avLst/>
              </a:prstGeom>
              <a:solidFill>
                <a:schemeClr val="bg1"/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ACBBD98F-59DE-A32C-6C81-E1A960C94B87}"/>
                  </a:ext>
                </a:extLst>
              </p:cNvPr>
              <p:cNvSpPr txBox="1"/>
              <p:nvPr/>
            </p:nvSpPr>
            <p:spPr>
              <a:xfrm>
                <a:off x="4897970" y="3011042"/>
                <a:ext cx="823390" cy="3390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871057">
                  <a:defRPr/>
                </a:pPr>
                <a:r>
                  <a:rPr lang="en-IN" sz="1048" b="1">
                    <a:solidFill>
                      <a:srgbClr val="00B050"/>
                    </a:solidFill>
                    <a:latin typeface="Calibri" panose="020F0502020204030204" pitchFamily="34" charset="0"/>
                  </a:rPr>
                  <a:t>Discovered</a:t>
                </a:r>
                <a:r>
                  <a:rPr lang="en-IN" sz="1048" b="1">
                    <a:solidFill>
                      <a:srgbClr val="000000"/>
                    </a:solidFill>
                    <a:latin typeface="Calibri" panose="020F0502020204030204" pitchFamily="34" charset="0"/>
                  </a:rPr>
                  <a:t>|</a:t>
                </a:r>
              </a:p>
              <a:p>
                <a:pPr algn="ctr" defTabSz="871057">
                  <a:defRPr/>
                </a:pPr>
                <a:r>
                  <a:rPr lang="en-IN" sz="1048" b="1">
                    <a:solidFill>
                      <a:srgbClr val="5A5A5A"/>
                    </a:solidFill>
                    <a:latin typeface="Calibri" panose="020F0502020204030204" pitchFamily="34" charset="0"/>
                  </a:rPr>
                  <a:t>Undiscovered</a:t>
                </a:r>
                <a:endParaRPr lang="en-IN" sz="1048" b="1">
                  <a:solidFill>
                    <a:srgbClr val="5A5A5A"/>
                  </a:solidFill>
                  <a:latin typeface="Trebuchet MS"/>
                </a:endParaRP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9C523DD-2705-4A28-D825-2514E9583009}"/>
                </a:ext>
              </a:extLst>
            </p:cNvPr>
            <p:cNvGrpSpPr/>
            <p:nvPr/>
          </p:nvGrpSpPr>
          <p:grpSpPr>
            <a:xfrm>
              <a:off x="3730844" y="2969544"/>
              <a:ext cx="796946" cy="595820"/>
              <a:chOff x="3859483" y="2839739"/>
              <a:chExt cx="836071" cy="626278"/>
            </a:xfrm>
          </p:grpSpPr>
          <p:sp>
            <p:nvSpPr>
              <p:cNvPr id="17" name="Right Triangle 16">
                <a:extLst>
                  <a:ext uri="{FF2B5EF4-FFF2-40B4-BE49-F238E27FC236}">
                    <a16:creationId xmlns:a16="http://schemas.microsoft.com/office/drawing/2014/main" id="{593787A6-B15E-FC19-92A0-148D7B9D89F3}"/>
                  </a:ext>
                </a:extLst>
              </p:cNvPr>
              <p:cNvSpPr/>
              <p:nvPr/>
            </p:nvSpPr>
            <p:spPr>
              <a:xfrm rot="16200000">
                <a:off x="3836030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8" name="Right Triangle 17">
                <a:extLst>
                  <a:ext uri="{FF2B5EF4-FFF2-40B4-BE49-F238E27FC236}">
                    <a16:creationId xmlns:a16="http://schemas.microsoft.com/office/drawing/2014/main" id="{1CF55F8E-D871-8C73-9D3F-E12C1468C7FC}"/>
                  </a:ext>
                </a:extLst>
              </p:cNvPr>
              <p:cNvSpPr/>
              <p:nvPr/>
            </p:nvSpPr>
            <p:spPr>
              <a:xfrm rot="5400000" flipH="1">
                <a:off x="4575806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19" name="Rectangle: Top Corners Rounded 18">
                <a:extLst>
                  <a:ext uri="{FF2B5EF4-FFF2-40B4-BE49-F238E27FC236}">
                    <a16:creationId xmlns:a16="http://schemas.microsoft.com/office/drawing/2014/main" id="{BBFEBE09-7616-3E0D-C936-EBB4EE55AF1C}"/>
                  </a:ext>
                </a:extLst>
              </p:cNvPr>
              <p:cNvSpPr/>
              <p:nvPr/>
            </p:nvSpPr>
            <p:spPr>
              <a:xfrm flipV="1">
                <a:off x="3859483" y="3007842"/>
                <a:ext cx="836070" cy="458175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21" name="Rectangle: Top Corners Rounded 20">
                <a:extLst>
                  <a:ext uri="{FF2B5EF4-FFF2-40B4-BE49-F238E27FC236}">
                    <a16:creationId xmlns:a16="http://schemas.microsoft.com/office/drawing/2014/main" id="{092A1DEE-FE3C-8A7F-2F1B-843217253E76}"/>
                  </a:ext>
                </a:extLst>
              </p:cNvPr>
              <p:cNvSpPr/>
              <p:nvPr/>
            </p:nvSpPr>
            <p:spPr>
              <a:xfrm flipV="1">
                <a:off x="3859483" y="2972282"/>
                <a:ext cx="836070" cy="458175"/>
              </a:xfrm>
              <a:prstGeom prst="round2SameRect">
                <a:avLst/>
              </a:prstGeom>
              <a:solidFill>
                <a:schemeClr val="bg1"/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FC1DF896-04B9-D826-CA2F-EA68B9C3A705}"/>
                  </a:ext>
                </a:extLst>
              </p:cNvPr>
              <p:cNvSpPr txBox="1"/>
              <p:nvPr/>
            </p:nvSpPr>
            <p:spPr>
              <a:xfrm>
                <a:off x="3865823" y="3011042"/>
                <a:ext cx="823390" cy="3390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871057">
                  <a:defRPr/>
                </a:pPr>
                <a:r>
                  <a:rPr lang="en-US" sz="1048" b="1">
                    <a:solidFill>
                      <a:srgbClr val="FFD700"/>
                    </a:solidFill>
                    <a:latin typeface="Calibri" panose="020F0502020204030204" pitchFamily="34" charset="0"/>
                  </a:rPr>
                  <a:t>Deep</a:t>
                </a:r>
                <a:r>
                  <a:rPr lang="en-IN" sz="1048" b="1">
                    <a:solidFill>
                      <a:srgbClr val="FF9933"/>
                    </a:solidFill>
                    <a:latin typeface="Calibri" panose="020F0502020204030204" pitchFamily="34" charset="0"/>
                  </a:rPr>
                  <a:t> </a:t>
                </a:r>
                <a:r>
                  <a:rPr lang="en-IN" sz="1048" b="1">
                    <a:solidFill>
                      <a:srgbClr val="000000"/>
                    </a:solidFill>
                    <a:latin typeface="Calibri" panose="020F0502020204030204" pitchFamily="34" charset="0"/>
                  </a:rPr>
                  <a:t>| </a:t>
                </a:r>
                <a:r>
                  <a:rPr lang="en-IN" sz="1048" b="1">
                    <a:solidFill>
                      <a:srgbClr val="B6C2FE"/>
                    </a:solidFill>
                    <a:latin typeface="Calibri" panose="020F0502020204030204" pitchFamily="34" charset="0"/>
                  </a:rPr>
                  <a:t>Shallow</a:t>
                </a:r>
                <a:endParaRPr lang="en-IN" sz="1048" b="1">
                  <a:solidFill>
                    <a:srgbClr val="B6C2FE"/>
                  </a:solidFill>
                  <a:latin typeface="Trebuchet MS"/>
                </a:endParaRP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1811281-27AA-669B-72D6-770159CCC8B8}"/>
                </a:ext>
              </a:extLst>
            </p:cNvPr>
            <p:cNvGrpSpPr/>
            <p:nvPr/>
          </p:nvGrpSpPr>
          <p:grpSpPr>
            <a:xfrm>
              <a:off x="2911216" y="2977105"/>
              <a:ext cx="796946" cy="595820"/>
              <a:chOff x="2820464" y="2839739"/>
              <a:chExt cx="836071" cy="626278"/>
            </a:xfrm>
          </p:grpSpPr>
          <p:sp>
            <p:nvSpPr>
              <p:cNvPr id="26" name="Right Triangle 25">
                <a:extLst>
                  <a:ext uri="{FF2B5EF4-FFF2-40B4-BE49-F238E27FC236}">
                    <a16:creationId xmlns:a16="http://schemas.microsoft.com/office/drawing/2014/main" id="{420DC6EE-7B12-9687-C87C-AA1117FC025C}"/>
                  </a:ext>
                </a:extLst>
              </p:cNvPr>
              <p:cNvSpPr/>
              <p:nvPr/>
            </p:nvSpPr>
            <p:spPr>
              <a:xfrm rot="16200000">
                <a:off x="2797011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28" name="Right Triangle 27">
                <a:extLst>
                  <a:ext uri="{FF2B5EF4-FFF2-40B4-BE49-F238E27FC236}">
                    <a16:creationId xmlns:a16="http://schemas.microsoft.com/office/drawing/2014/main" id="{795A8FFF-25E4-8588-384C-2608D7D97FE0}"/>
                  </a:ext>
                </a:extLst>
              </p:cNvPr>
              <p:cNvSpPr/>
              <p:nvPr/>
            </p:nvSpPr>
            <p:spPr>
              <a:xfrm rot="5400000" flipH="1">
                <a:off x="3536787" y="2863192"/>
                <a:ext cx="143201" cy="96295"/>
              </a:xfrm>
              <a:prstGeom prst="rtTriangle">
                <a:avLst/>
              </a:prstGeom>
              <a:solidFill>
                <a:schemeClr val="accent5"/>
              </a:solidFill>
              <a:ln w="9525" cap="rnd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33" name="Rectangle: Top Corners Rounded 32">
                <a:extLst>
                  <a:ext uri="{FF2B5EF4-FFF2-40B4-BE49-F238E27FC236}">
                    <a16:creationId xmlns:a16="http://schemas.microsoft.com/office/drawing/2014/main" id="{03BDBB0C-629A-B519-6BAB-C827C8E5E900}"/>
                  </a:ext>
                </a:extLst>
              </p:cNvPr>
              <p:cNvSpPr/>
              <p:nvPr/>
            </p:nvSpPr>
            <p:spPr>
              <a:xfrm flipV="1">
                <a:off x="2820464" y="3007842"/>
                <a:ext cx="836070" cy="458175"/>
              </a:xfrm>
              <a:prstGeom prst="round2Same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34" name="Rectangle: Top Corners Rounded 33">
                <a:extLst>
                  <a:ext uri="{FF2B5EF4-FFF2-40B4-BE49-F238E27FC236}">
                    <a16:creationId xmlns:a16="http://schemas.microsoft.com/office/drawing/2014/main" id="{DC4E4698-CF2A-9685-34D2-61F59B6727D9}"/>
                  </a:ext>
                </a:extLst>
              </p:cNvPr>
              <p:cNvSpPr/>
              <p:nvPr/>
            </p:nvSpPr>
            <p:spPr>
              <a:xfrm flipV="1">
                <a:off x="2820464" y="2972282"/>
                <a:ext cx="836070" cy="458175"/>
              </a:xfrm>
              <a:prstGeom prst="round2SameRect">
                <a:avLst/>
              </a:prstGeom>
              <a:solidFill>
                <a:schemeClr val="bg1"/>
              </a:solidFill>
              <a:ln w="9525" cap="rnd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71057">
                  <a:defRPr/>
                </a:pPr>
                <a:endParaRPr lang="en-US" sz="1143" err="1">
                  <a:solidFill>
                    <a:srgbClr val="FFFFFF"/>
                  </a:solidFill>
                  <a:latin typeface="Trebuchet MS"/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06EEDCDA-4B48-1840-65BC-9164754ADE47}"/>
                  </a:ext>
                </a:extLst>
              </p:cNvPr>
              <p:cNvSpPr txBox="1"/>
              <p:nvPr/>
            </p:nvSpPr>
            <p:spPr>
              <a:xfrm>
                <a:off x="2826804" y="3011042"/>
                <a:ext cx="823390" cy="3390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871057">
                  <a:defRPr/>
                </a:pPr>
                <a:r>
                  <a:rPr lang="en-US" sz="1048" b="1" err="1">
                    <a:solidFill>
                      <a:srgbClr val="FF9933"/>
                    </a:solidFill>
                    <a:latin typeface="Calibri" panose="020F0502020204030204" pitchFamily="34" charset="0"/>
                  </a:rPr>
                  <a:t>Onland</a:t>
                </a:r>
                <a:r>
                  <a:rPr lang="en-IN" sz="1048" b="1">
                    <a:solidFill>
                      <a:srgbClr val="FF9933"/>
                    </a:solidFill>
                    <a:latin typeface="Calibri" panose="020F0502020204030204" pitchFamily="34" charset="0"/>
                  </a:rPr>
                  <a:t> </a:t>
                </a:r>
                <a:r>
                  <a:rPr lang="en-IN" sz="1048" b="1">
                    <a:solidFill>
                      <a:srgbClr val="000000"/>
                    </a:solidFill>
                    <a:latin typeface="Calibri" panose="020F0502020204030204" pitchFamily="34" charset="0"/>
                  </a:rPr>
                  <a:t>| </a:t>
                </a:r>
                <a:br>
                  <a:rPr lang="en-IN" sz="1048" b="1">
                    <a:solidFill>
                      <a:srgbClr val="000000"/>
                    </a:solidFill>
                    <a:latin typeface="Calibri" panose="020F0502020204030204" pitchFamily="34" charset="0"/>
                  </a:rPr>
                </a:br>
                <a:r>
                  <a:rPr lang="en-IN" sz="1048" b="1">
                    <a:solidFill>
                      <a:srgbClr val="264796"/>
                    </a:solidFill>
                    <a:latin typeface="Calibri" panose="020F0502020204030204" pitchFamily="34" charset="0"/>
                  </a:rPr>
                  <a:t>Offshore</a:t>
                </a:r>
                <a:endParaRPr lang="en-IN" sz="1048" b="1">
                  <a:solidFill>
                    <a:srgbClr val="264796"/>
                  </a:solidFill>
                  <a:latin typeface="Trebuchet MS"/>
                </a:endParaRPr>
              </a:p>
            </p:txBody>
          </p:sp>
        </p:grpSp>
        <p:graphicFrame>
          <p:nvGraphicFramePr>
            <p:cNvPr id="80" name="Chart 79">
              <a:extLst>
                <a:ext uri="{FF2B5EF4-FFF2-40B4-BE49-F238E27FC236}">
                  <a16:creationId xmlns:a16="http://schemas.microsoft.com/office/drawing/2014/main" id="{A0447B05-1B6E-46F3-8FF1-849CED8B6B3F}"/>
                </a:ext>
              </a:extLst>
            </p:cNvPr>
            <p:cNvGraphicFramePr/>
            <p:nvPr>
              <p:custDataLst>
                <p:tags r:id="rId16"/>
              </p:custDataLst>
              <p:extLst>
                <p:ext uri="{D42A27DB-BD31-4B8C-83A1-F6EECF244321}">
                  <p14:modId xmlns:p14="http://schemas.microsoft.com/office/powerpoint/2010/main" val="1090421882"/>
                </p:ext>
              </p:extLst>
            </p:nvPr>
          </p:nvGraphicFramePr>
          <p:xfrm>
            <a:off x="2822005" y="1676587"/>
            <a:ext cx="2629782" cy="150770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2"/>
            </a:graphicData>
          </a:graphic>
        </p:graphicFrame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976ACC2-A4E9-FCCB-D2FA-222F0F52A814}"/>
                </a:ext>
              </a:extLst>
            </p:cNvPr>
            <p:cNvSpPr/>
            <p:nvPr/>
          </p:nvSpPr>
          <p:spPr>
            <a:xfrm rot="11070612">
              <a:off x="5706971" y="2004955"/>
              <a:ext cx="3660686" cy="1632009"/>
            </a:xfrm>
            <a:custGeom>
              <a:avLst/>
              <a:gdLst>
                <a:gd name="connsiteX0" fmla="*/ 3248298 w 3248298"/>
                <a:gd name="connsiteY0" fmla="*/ 0 h 3066413"/>
                <a:gd name="connsiteX1" fmla="*/ 3248298 w 3248298"/>
                <a:gd name="connsiteY1" fmla="*/ 3066413 h 3066413"/>
                <a:gd name="connsiteX2" fmla="*/ 49081 w 3248298"/>
                <a:gd name="connsiteY2" fmla="*/ 1875414 h 3066413"/>
                <a:gd name="connsiteX3" fmla="*/ 49652 w 3248298"/>
                <a:gd name="connsiteY3" fmla="*/ 1875356 h 3066413"/>
                <a:gd name="connsiteX4" fmla="*/ 316559 w 3248298"/>
                <a:gd name="connsiteY4" fmla="*/ 1547872 h 3066413"/>
                <a:gd name="connsiteX5" fmla="*/ 49652 w 3248298"/>
                <a:gd name="connsiteY5" fmla="*/ 1220388 h 3066413"/>
                <a:gd name="connsiteX6" fmla="*/ 0 w 3248298"/>
                <a:gd name="connsiteY6" fmla="*/ 1215383 h 3066413"/>
                <a:gd name="connsiteX7" fmla="*/ 0 w 3248298"/>
                <a:gd name="connsiteY7" fmla="*/ 1209271 h 3066413"/>
                <a:gd name="connsiteX8" fmla="*/ 3248298 w 3248298"/>
                <a:gd name="connsiteY8" fmla="*/ 0 h 3066413"/>
                <a:gd name="connsiteX0" fmla="*/ 2968898 w 3248298"/>
                <a:gd name="connsiteY0" fmla="*/ 0 h 3256913"/>
                <a:gd name="connsiteX1" fmla="*/ 3248298 w 3248298"/>
                <a:gd name="connsiteY1" fmla="*/ 3256913 h 3256913"/>
                <a:gd name="connsiteX2" fmla="*/ 49081 w 3248298"/>
                <a:gd name="connsiteY2" fmla="*/ 2065914 h 3256913"/>
                <a:gd name="connsiteX3" fmla="*/ 49652 w 3248298"/>
                <a:gd name="connsiteY3" fmla="*/ 2065856 h 3256913"/>
                <a:gd name="connsiteX4" fmla="*/ 316559 w 3248298"/>
                <a:gd name="connsiteY4" fmla="*/ 1738372 h 3256913"/>
                <a:gd name="connsiteX5" fmla="*/ 49652 w 3248298"/>
                <a:gd name="connsiteY5" fmla="*/ 1410888 h 3256913"/>
                <a:gd name="connsiteX6" fmla="*/ 0 w 3248298"/>
                <a:gd name="connsiteY6" fmla="*/ 1405883 h 3256913"/>
                <a:gd name="connsiteX7" fmla="*/ 0 w 3248298"/>
                <a:gd name="connsiteY7" fmla="*/ 1399771 h 3256913"/>
                <a:gd name="connsiteX8" fmla="*/ 2968898 w 3248298"/>
                <a:gd name="connsiteY8" fmla="*/ 0 h 3256913"/>
                <a:gd name="connsiteX0" fmla="*/ 2968898 w 2968898"/>
                <a:gd name="connsiteY0" fmla="*/ 0 h 3066413"/>
                <a:gd name="connsiteX1" fmla="*/ 2879998 w 2968898"/>
                <a:gd name="connsiteY1" fmla="*/ 3066413 h 3066413"/>
                <a:gd name="connsiteX2" fmla="*/ 49081 w 2968898"/>
                <a:gd name="connsiteY2" fmla="*/ 2065914 h 3066413"/>
                <a:gd name="connsiteX3" fmla="*/ 49652 w 2968898"/>
                <a:gd name="connsiteY3" fmla="*/ 2065856 h 3066413"/>
                <a:gd name="connsiteX4" fmla="*/ 316559 w 2968898"/>
                <a:gd name="connsiteY4" fmla="*/ 1738372 h 3066413"/>
                <a:gd name="connsiteX5" fmla="*/ 49652 w 2968898"/>
                <a:gd name="connsiteY5" fmla="*/ 1410888 h 3066413"/>
                <a:gd name="connsiteX6" fmla="*/ 0 w 2968898"/>
                <a:gd name="connsiteY6" fmla="*/ 1405883 h 3066413"/>
                <a:gd name="connsiteX7" fmla="*/ 0 w 2968898"/>
                <a:gd name="connsiteY7" fmla="*/ 1399771 h 3066413"/>
                <a:gd name="connsiteX8" fmla="*/ 2968898 w 2968898"/>
                <a:gd name="connsiteY8" fmla="*/ 0 h 3066413"/>
                <a:gd name="connsiteX0" fmla="*/ 2968898 w 3032398"/>
                <a:gd name="connsiteY0" fmla="*/ 0 h 3079113"/>
                <a:gd name="connsiteX1" fmla="*/ 3032398 w 3032398"/>
                <a:gd name="connsiteY1" fmla="*/ 3079113 h 3079113"/>
                <a:gd name="connsiteX2" fmla="*/ 49081 w 3032398"/>
                <a:gd name="connsiteY2" fmla="*/ 2065914 h 3079113"/>
                <a:gd name="connsiteX3" fmla="*/ 49652 w 3032398"/>
                <a:gd name="connsiteY3" fmla="*/ 2065856 h 3079113"/>
                <a:gd name="connsiteX4" fmla="*/ 316559 w 3032398"/>
                <a:gd name="connsiteY4" fmla="*/ 1738372 h 3079113"/>
                <a:gd name="connsiteX5" fmla="*/ 49652 w 3032398"/>
                <a:gd name="connsiteY5" fmla="*/ 1410888 h 3079113"/>
                <a:gd name="connsiteX6" fmla="*/ 0 w 3032398"/>
                <a:gd name="connsiteY6" fmla="*/ 1405883 h 3079113"/>
                <a:gd name="connsiteX7" fmla="*/ 0 w 3032398"/>
                <a:gd name="connsiteY7" fmla="*/ 1399771 h 3079113"/>
                <a:gd name="connsiteX8" fmla="*/ 2968898 w 3032398"/>
                <a:gd name="connsiteY8" fmla="*/ 0 h 3079113"/>
                <a:gd name="connsiteX0" fmla="*/ 2930798 w 3032398"/>
                <a:gd name="connsiteY0" fmla="*/ 0 h 3091813"/>
                <a:gd name="connsiteX1" fmla="*/ 3032398 w 3032398"/>
                <a:gd name="connsiteY1" fmla="*/ 3091813 h 3091813"/>
                <a:gd name="connsiteX2" fmla="*/ 49081 w 3032398"/>
                <a:gd name="connsiteY2" fmla="*/ 2078614 h 3091813"/>
                <a:gd name="connsiteX3" fmla="*/ 49652 w 3032398"/>
                <a:gd name="connsiteY3" fmla="*/ 2078556 h 3091813"/>
                <a:gd name="connsiteX4" fmla="*/ 316559 w 3032398"/>
                <a:gd name="connsiteY4" fmla="*/ 1751072 h 3091813"/>
                <a:gd name="connsiteX5" fmla="*/ 49652 w 3032398"/>
                <a:gd name="connsiteY5" fmla="*/ 1423588 h 3091813"/>
                <a:gd name="connsiteX6" fmla="*/ 0 w 3032398"/>
                <a:gd name="connsiteY6" fmla="*/ 1418583 h 3091813"/>
                <a:gd name="connsiteX7" fmla="*/ 0 w 3032398"/>
                <a:gd name="connsiteY7" fmla="*/ 1412471 h 3091813"/>
                <a:gd name="connsiteX8" fmla="*/ 2930798 w 3032398"/>
                <a:gd name="connsiteY8" fmla="*/ 0 h 3091813"/>
                <a:gd name="connsiteX0" fmla="*/ 2930798 w 3032398"/>
                <a:gd name="connsiteY0" fmla="*/ 0 h 3452842"/>
                <a:gd name="connsiteX1" fmla="*/ 3032398 w 3032398"/>
                <a:gd name="connsiteY1" fmla="*/ 3091813 h 3452842"/>
                <a:gd name="connsiteX2" fmla="*/ 49081 w 3032398"/>
                <a:gd name="connsiteY2" fmla="*/ 2078614 h 3452842"/>
                <a:gd name="connsiteX3" fmla="*/ 627398 w 3032398"/>
                <a:gd name="connsiteY3" fmla="*/ 3452842 h 3452842"/>
                <a:gd name="connsiteX4" fmla="*/ 316559 w 3032398"/>
                <a:gd name="connsiteY4" fmla="*/ 1751072 h 3452842"/>
                <a:gd name="connsiteX5" fmla="*/ 49652 w 3032398"/>
                <a:gd name="connsiteY5" fmla="*/ 1423588 h 3452842"/>
                <a:gd name="connsiteX6" fmla="*/ 0 w 3032398"/>
                <a:gd name="connsiteY6" fmla="*/ 1418583 h 3452842"/>
                <a:gd name="connsiteX7" fmla="*/ 0 w 3032398"/>
                <a:gd name="connsiteY7" fmla="*/ 1412471 h 3452842"/>
                <a:gd name="connsiteX8" fmla="*/ 2930798 w 3032398"/>
                <a:gd name="connsiteY8" fmla="*/ 0 h 3452842"/>
                <a:gd name="connsiteX0" fmla="*/ 2930798 w 3032398"/>
                <a:gd name="connsiteY0" fmla="*/ 0 h 3452842"/>
                <a:gd name="connsiteX1" fmla="*/ 3032398 w 3032398"/>
                <a:gd name="connsiteY1" fmla="*/ 3091813 h 3452842"/>
                <a:gd name="connsiteX2" fmla="*/ 627398 w 3032398"/>
                <a:gd name="connsiteY2" fmla="*/ 3452842 h 3452842"/>
                <a:gd name="connsiteX3" fmla="*/ 316559 w 3032398"/>
                <a:gd name="connsiteY3" fmla="*/ 1751072 h 3452842"/>
                <a:gd name="connsiteX4" fmla="*/ 49652 w 3032398"/>
                <a:gd name="connsiteY4" fmla="*/ 1423588 h 3452842"/>
                <a:gd name="connsiteX5" fmla="*/ 0 w 3032398"/>
                <a:gd name="connsiteY5" fmla="*/ 1418583 h 3452842"/>
                <a:gd name="connsiteX6" fmla="*/ 0 w 3032398"/>
                <a:gd name="connsiteY6" fmla="*/ 1412471 h 3452842"/>
                <a:gd name="connsiteX7" fmla="*/ 2930798 w 3032398"/>
                <a:gd name="connsiteY7" fmla="*/ 0 h 3452842"/>
                <a:gd name="connsiteX0" fmla="*/ 2930798 w 3032398"/>
                <a:gd name="connsiteY0" fmla="*/ 0 h 3452842"/>
                <a:gd name="connsiteX1" fmla="*/ 3032398 w 3032398"/>
                <a:gd name="connsiteY1" fmla="*/ 3091813 h 3452842"/>
                <a:gd name="connsiteX2" fmla="*/ 627398 w 3032398"/>
                <a:gd name="connsiteY2" fmla="*/ 3452842 h 3452842"/>
                <a:gd name="connsiteX3" fmla="*/ 316559 w 3032398"/>
                <a:gd name="connsiteY3" fmla="*/ 1751072 h 3452842"/>
                <a:gd name="connsiteX4" fmla="*/ 49652 w 3032398"/>
                <a:gd name="connsiteY4" fmla="*/ 1423588 h 3452842"/>
                <a:gd name="connsiteX5" fmla="*/ 0 w 3032398"/>
                <a:gd name="connsiteY5" fmla="*/ 1418583 h 3452842"/>
                <a:gd name="connsiteX6" fmla="*/ 0 w 3032398"/>
                <a:gd name="connsiteY6" fmla="*/ 1412471 h 3452842"/>
                <a:gd name="connsiteX7" fmla="*/ 2930798 w 3032398"/>
                <a:gd name="connsiteY7" fmla="*/ 0 h 3452842"/>
                <a:gd name="connsiteX0" fmla="*/ 2930798 w 3032398"/>
                <a:gd name="connsiteY0" fmla="*/ 0 h 3452842"/>
                <a:gd name="connsiteX1" fmla="*/ 3032398 w 3032398"/>
                <a:gd name="connsiteY1" fmla="*/ 3091813 h 3452842"/>
                <a:gd name="connsiteX2" fmla="*/ 627398 w 3032398"/>
                <a:gd name="connsiteY2" fmla="*/ 3452842 h 3452842"/>
                <a:gd name="connsiteX3" fmla="*/ 49652 w 3032398"/>
                <a:gd name="connsiteY3" fmla="*/ 1423588 h 3452842"/>
                <a:gd name="connsiteX4" fmla="*/ 0 w 3032398"/>
                <a:gd name="connsiteY4" fmla="*/ 1418583 h 3452842"/>
                <a:gd name="connsiteX5" fmla="*/ 0 w 3032398"/>
                <a:gd name="connsiteY5" fmla="*/ 1412471 h 3452842"/>
                <a:gd name="connsiteX6" fmla="*/ 2930798 w 3032398"/>
                <a:gd name="connsiteY6" fmla="*/ 0 h 3452842"/>
                <a:gd name="connsiteX0" fmla="*/ 2930798 w 3032398"/>
                <a:gd name="connsiteY0" fmla="*/ 0 h 3452842"/>
                <a:gd name="connsiteX1" fmla="*/ 3032398 w 3032398"/>
                <a:gd name="connsiteY1" fmla="*/ 3091813 h 3452842"/>
                <a:gd name="connsiteX2" fmla="*/ 627398 w 3032398"/>
                <a:gd name="connsiteY2" fmla="*/ 3452842 h 3452842"/>
                <a:gd name="connsiteX3" fmla="*/ 49652 w 3032398"/>
                <a:gd name="connsiteY3" fmla="*/ 1423588 h 3452842"/>
                <a:gd name="connsiteX4" fmla="*/ 0 w 3032398"/>
                <a:gd name="connsiteY4" fmla="*/ 1418583 h 3452842"/>
                <a:gd name="connsiteX5" fmla="*/ 288873 w 3032398"/>
                <a:gd name="connsiteY5" fmla="*/ 2205329 h 3452842"/>
                <a:gd name="connsiteX6" fmla="*/ 2930798 w 3032398"/>
                <a:gd name="connsiteY6" fmla="*/ 0 h 3452842"/>
                <a:gd name="connsiteX0" fmla="*/ 2881145 w 2982745"/>
                <a:gd name="connsiteY0" fmla="*/ 0 h 3452842"/>
                <a:gd name="connsiteX1" fmla="*/ 2982745 w 2982745"/>
                <a:gd name="connsiteY1" fmla="*/ 3091813 h 3452842"/>
                <a:gd name="connsiteX2" fmla="*/ 577745 w 2982745"/>
                <a:gd name="connsiteY2" fmla="*/ 3452842 h 3452842"/>
                <a:gd name="connsiteX3" fmla="*/ -1 w 2982745"/>
                <a:gd name="connsiteY3" fmla="*/ 1423588 h 3452842"/>
                <a:gd name="connsiteX4" fmla="*/ 239220 w 2982745"/>
                <a:gd name="connsiteY4" fmla="*/ 2205329 h 3452842"/>
                <a:gd name="connsiteX5" fmla="*/ 2881145 w 2982745"/>
                <a:gd name="connsiteY5" fmla="*/ 0 h 3452842"/>
                <a:gd name="connsiteX0" fmla="*/ 2826401 w 2928001"/>
                <a:gd name="connsiteY0" fmla="*/ 0 h 3452842"/>
                <a:gd name="connsiteX1" fmla="*/ 2928001 w 2928001"/>
                <a:gd name="connsiteY1" fmla="*/ 3091813 h 3452842"/>
                <a:gd name="connsiteX2" fmla="*/ 523001 w 2928001"/>
                <a:gd name="connsiteY2" fmla="*/ 3452842 h 3452842"/>
                <a:gd name="connsiteX3" fmla="*/ 184476 w 2928001"/>
                <a:gd name="connsiteY3" fmla="*/ 2205329 h 3452842"/>
                <a:gd name="connsiteX4" fmla="*/ 2826401 w 2928001"/>
                <a:gd name="connsiteY4" fmla="*/ 0 h 3452842"/>
                <a:gd name="connsiteX0" fmla="*/ 2803852 w 2905452"/>
                <a:gd name="connsiteY0" fmla="*/ 0 h 3452842"/>
                <a:gd name="connsiteX1" fmla="*/ 2905452 w 2905452"/>
                <a:gd name="connsiteY1" fmla="*/ 3091813 h 3452842"/>
                <a:gd name="connsiteX2" fmla="*/ 500452 w 2905452"/>
                <a:gd name="connsiteY2" fmla="*/ 3452842 h 3452842"/>
                <a:gd name="connsiteX3" fmla="*/ 192877 w 2905452"/>
                <a:gd name="connsiteY3" fmla="*/ 2073186 h 3452842"/>
                <a:gd name="connsiteX4" fmla="*/ 2803852 w 2905452"/>
                <a:gd name="connsiteY4" fmla="*/ 0 h 3452842"/>
                <a:gd name="connsiteX0" fmla="*/ 2610975 w 2712575"/>
                <a:gd name="connsiteY0" fmla="*/ 0 h 3452842"/>
                <a:gd name="connsiteX1" fmla="*/ 2712575 w 2712575"/>
                <a:gd name="connsiteY1" fmla="*/ 3091813 h 3452842"/>
                <a:gd name="connsiteX2" fmla="*/ 307575 w 2712575"/>
                <a:gd name="connsiteY2" fmla="*/ 3452842 h 3452842"/>
                <a:gd name="connsiteX3" fmla="*/ 0 w 2712575"/>
                <a:gd name="connsiteY3" fmla="*/ 2073186 h 3452842"/>
                <a:gd name="connsiteX4" fmla="*/ 2610975 w 2712575"/>
                <a:gd name="connsiteY4" fmla="*/ 0 h 3452842"/>
                <a:gd name="connsiteX0" fmla="*/ 2610975 w 2712575"/>
                <a:gd name="connsiteY0" fmla="*/ 0 h 3452842"/>
                <a:gd name="connsiteX1" fmla="*/ 2712575 w 2712575"/>
                <a:gd name="connsiteY1" fmla="*/ 3091813 h 3452842"/>
                <a:gd name="connsiteX2" fmla="*/ 307575 w 2712575"/>
                <a:gd name="connsiteY2" fmla="*/ 3452842 h 3452842"/>
                <a:gd name="connsiteX3" fmla="*/ 0 w 2712575"/>
                <a:gd name="connsiteY3" fmla="*/ 2073186 h 3452842"/>
                <a:gd name="connsiteX4" fmla="*/ 2610975 w 2712575"/>
                <a:gd name="connsiteY4" fmla="*/ 0 h 3452842"/>
                <a:gd name="connsiteX0" fmla="*/ 2827630 w 2827630"/>
                <a:gd name="connsiteY0" fmla="*/ 0 h 5514273"/>
                <a:gd name="connsiteX1" fmla="*/ 2712575 w 2827630"/>
                <a:gd name="connsiteY1" fmla="*/ 5153244 h 5514273"/>
                <a:gd name="connsiteX2" fmla="*/ 307575 w 2827630"/>
                <a:gd name="connsiteY2" fmla="*/ 5514273 h 5514273"/>
                <a:gd name="connsiteX3" fmla="*/ 0 w 2827630"/>
                <a:gd name="connsiteY3" fmla="*/ 4134617 h 5514273"/>
                <a:gd name="connsiteX4" fmla="*/ 2827630 w 2827630"/>
                <a:gd name="connsiteY4" fmla="*/ 0 h 5514273"/>
                <a:gd name="connsiteX0" fmla="*/ 2827630 w 2827630"/>
                <a:gd name="connsiteY0" fmla="*/ 0 h 6289674"/>
                <a:gd name="connsiteX1" fmla="*/ 2784793 w 2827630"/>
                <a:gd name="connsiteY1" fmla="*/ 6289674 h 6289674"/>
                <a:gd name="connsiteX2" fmla="*/ 307575 w 2827630"/>
                <a:gd name="connsiteY2" fmla="*/ 5514273 h 6289674"/>
                <a:gd name="connsiteX3" fmla="*/ 0 w 2827630"/>
                <a:gd name="connsiteY3" fmla="*/ 4134617 h 6289674"/>
                <a:gd name="connsiteX4" fmla="*/ 2827630 w 2827630"/>
                <a:gd name="connsiteY4" fmla="*/ 0 h 6289674"/>
                <a:gd name="connsiteX0" fmla="*/ 2827630 w 2827630"/>
                <a:gd name="connsiteY0" fmla="*/ 0 h 6289674"/>
                <a:gd name="connsiteX1" fmla="*/ 2784793 w 2827630"/>
                <a:gd name="connsiteY1" fmla="*/ 6289674 h 6289674"/>
                <a:gd name="connsiteX2" fmla="*/ 678982 w 2827630"/>
                <a:gd name="connsiteY2" fmla="*/ 5625274 h 6289674"/>
                <a:gd name="connsiteX3" fmla="*/ 0 w 2827630"/>
                <a:gd name="connsiteY3" fmla="*/ 4134617 h 6289674"/>
                <a:gd name="connsiteX4" fmla="*/ 2827630 w 2827630"/>
                <a:gd name="connsiteY4" fmla="*/ 0 h 6289674"/>
                <a:gd name="connsiteX0" fmla="*/ 2827630 w 2827630"/>
                <a:gd name="connsiteY0" fmla="*/ 0 h 6289674"/>
                <a:gd name="connsiteX1" fmla="*/ 2784793 w 2827630"/>
                <a:gd name="connsiteY1" fmla="*/ 6289674 h 6289674"/>
                <a:gd name="connsiteX2" fmla="*/ 369476 w 2827630"/>
                <a:gd name="connsiteY2" fmla="*/ 5736274 h 6289674"/>
                <a:gd name="connsiteX3" fmla="*/ 0 w 2827630"/>
                <a:gd name="connsiteY3" fmla="*/ 4134617 h 6289674"/>
                <a:gd name="connsiteX4" fmla="*/ 2827630 w 2827630"/>
                <a:gd name="connsiteY4" fmla="*/ 0 h 6289674"/>
                <a:gd name="connsiteX0" fmla="*/ 2827630 w 2827630"/>
                <a:gd name="connsiteY0" fmla="*/ 0 h 6289674"/>
                <a:gd name="connsiteX1" fmla="*/ 2784793 w 2827630"/>
                <a:gd name="connsiteY1" fmla="*/ 6289674 h 6289674"/>
                <a:gd name="connsiteX2" fmla="*/ 369476 w 2827630"/>
                <a:gd name="connsiteY2" fmla="*/ 5736274 h 6289674"/>
                <a:gd name="connsiteX3" fmla="*/ 0 w 2827630"/>
                <a:gd name="connsiteY3" fmla="*/ 4134617 h 6289674"/>
                <a:gd name="connsiteX4" fmla="*/ 2827630 w 2827630"/>
                <a:gd name="connsiteY4" fmla="*/ 0 h 6289674"/>
                <a:gd name="connsiteX0" fmla="*/ 2458154 w 2458154"/>
                <a:gd name="connsiteY0" fmla="*/ 0 h 6289674"/>
                <a:gd name="connsiteX1" fmla="*/ 2415317 w 2458154"/>
                <a:gd name="connsiteY1" fmla="*/ 6289674 h 6289674"/>
                <a:gd name="connsiteX2" fmla="*/ 0 w 2458154"/>
                <a:gd name="connsiteY2" fmla="*/ 5736274 h 6289674"/>
                <a:gd name="connsiteX3" fmla="*/ 398100 w 2458154"/>
                <a:gd name="connsiteY3" fmla="*/ 4375646 h 6289674"/>
                <a:gd name="connsiteX4" fmla="*/ 2458154 w 2458154"/>
                <a:gd name="connsiteY4" fmla="*/ 0 h 6289674"/>
                <a:gd name="connsiteX0" fmla="*/ 2458154 w 2458154"/>
                <a:gd name="connsiteY0" fmla="*/ 0 h 6289674"/>
                <a:gd name="connsiteX1" fmla="*/ 2415317 w 2458154"/>
                <a:gd name="connsiteY1" fmla="*/ 6289674 h 6289674"/>
                <a:gd name="connsiteX2" fmla="*/ 0 w 2458154"/>
                <a:gd name="connsiteY2" fmla="*/ 5736274 h 6289674"/>
                <a:gd name="connsiteX3" fmla="*/ 398100 w 2458154"/>
                <a:gd name="connsiteY3" fmla="*/ 4375646 h 6289674"/>
                <a:gd name="connsiteX4" fmla="*/ 2458154 w 2458154"/>
                <a:gd name="connsiteY4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393148 w 2453202"/>
                <a:gd name="connsiteY3" fmla="*/ 4375646 h 6289674"/>
                <a:gd name="connsiteX4" fmla="*/ 2453202 w 2453202"/>
                <a:gd name="connsiteY4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393148 w 2453202"/>
                <a:gd name="connsiteY3" fmla="*/ 4375646 h 6289674"/>
                <a:gd name="connsiteX4" fmla="*/ 2453202 w 2453202"/>
                <a:gd name="connsiteY4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393148 w 2453202"/>
                <a:gd name="connsiteY3" fmla="*/ 4375646 h 6289674"/>
                <a:gd name="connsiteX4" fmla="*/ 2453202 w 2453202"/>
                <a:gd name="connsiteY4" fmla="*/ 0 h 6289674"/>
                <a:gd name="connsiteX0" fmla="*/ 2541334 w 2541334"/>
                <a:gd name="connsiteY0" fmla="*/ 0 h 6289674"/>
                <a:gd name="connsiteX1" fmla="*/ 2498497 w 2541334"/>
                <a:gd name="connsiteY1" fmla="*/ 6289674 h 6289674"/>
                <a:gd name="connsiteX2" fmla="*/ 88132 w 2541334"/>
                <a:gd name="connsiteY2" fmla="*/ 5787017 h 6289674"/>
                <a:gd name="connsiteX3" fmla="*/ 520559 w 2541334"/>
                <a:gd name="connsiteY3" fmla="*/ 5212247 h 6289674"/>
                <a:gd name="connsiteX4" fmla="*/ 481280 w 2541334"/>
                <a:gd name="connsiteY4" fmla="*/ 4375646 h 6289674"/>
                <a:gd name="connsiteX5" fmla="*/ 2541334 w 2541334"/>
                <a:gd name="connsiteY5" fmla="*/ 0 h 6289674"/>
                <a:gd name="connsiteX0" fmla="*/ 2541334 w 2541334"/>
                <a:gd name="connsiteY0" fmla="*/ 0 h 6289674"/>
                <a:gd name="connsiteX1" fmla="*/ 2498497 w 2541334"/>
                <a:gd name="connsiteY1" fmla="*/ 6289674 h 6289674"/>
                <a:gd name="connsiteX2" fmla="*/ 88132 w 2541334"/>
                <a:gd name="connsiteY2" fmla="*/ 5787017 h 6289674"/>
                <a:gd name="connsiteX3" fmla="*/ 520559 w 2541334"/>
                <a:gd name="connsiteY3" fmla="*/ 5212247 h 6289674"/>
                <a:gd name="connsiteX4" fmla="*/ 481280 w 2541334"/>
                <a:gd name="connsiteY4" fmla="*/ 4375646 h 6289674"/>
                <a:gd name="connsiteX5" fmla="*/ 2541334 w 2541334"/>
                <a:gd name="connsiteY5" fmla="*/ 0 h 6289674"/>
                <a:gd name="connsiteX0" fmla="*/ 2556640 w 2556640"/>
                <a:gd name="connsiteY0" fmla="*/ 0 h 6289674"/>
                <a:gd name="connsiteX1" fmla="*/ 2513803 w 2556640"/>
                <a:gd name="connsiteY1" fmla="*/ 6289674 h 6289674"/>
                <a:gd name="connsiteX2" fmla="*/ 103438 w 2556640"/>
                <a:gd name="connsiteY2" fmla="*/ 5787017 h 6289674"/>
                <a:gd name="connsiteX3" fmla="*/ 397206 w 2556640"/>
                <a:gd name="connsiteY3" fmla="*/ 5091732 h 6289674"/>
                <a:gd name="connsiteX4" fmla="*/ 496586 w 2556640"/>
                <a:gd name="connsiteY4" fmla="*/ 4375646 h 6289674"/>
                <a:gd name="connsiteX5" fmla="*/ 2556640 w 2556640"/>
                <a:gd name="connsiteY5" fmla="*/ 0 h 6289674"/>
                <a:gd name="connsiteX0" fmla="*/ 2556640 w 2556640"/>
                <a:gd name="connsiteY0" fmla="*/ 0 h 6289674"/>
                <a:gd name="connsiteX1" fmla="*/ 2513803 w 2556640"/>
                <a:gd name="connsiteY1" fmla="*/ 6289674 h 6289674"/>
                <a:gd name="connsiteX2" fmla="*/ 103438 w 2556640"/>
                <a:gd name="connsiteY2" fmla="*/ 5787017 h 6289674"/>
                <a:gd name="connsiteX3" fmla="*/ 397206 w 2556640"/>
                <a:gd name="connsiteY3" fmla="*/ 5091732 h 6289674"/>
                <a:gd name="connsiteX4" fmla="*/ 496586 w 2556640"/>
                <a:gd name="connsiteY4" fmla="*/ 4375646 h 6289674"/>
                <a:gd name="connsiteX5" fmla="*/ 2556640 w 2556640"/>
                <a:gd name="connsiteY5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293768 w 2453202"/>
                <a:gd name="connsiteY3" fmla="*/ 5091732 h 6289674"/>
                <a:gd name="connsiteX4" fmla="*/ 393148 w 2453202"/>
                <a:gd name="connsiteY4" fmla="*/ 4375646 h 6289674"/>
                <a:gd name="connsiteX5" fmla="*/ 2453202 w 2453202"/>
                <a:gd name="connsiteY5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293768 w 2453202"/>
                <a:gd name="connsiteY3" fmla="*/ 5091732 h 6289674"/>
                <a:gd name="connsiteX4" fmla="*/ 393148 w 2453202"/>
                <a:gd name="connsiteY4" fmla="*/ 4375646 h 6289674"/>
                <a:gd name="connsiteX5" fmla="*/ 2453202 w 2453202"/>
                <a:gd name="connsiteY5" fmla="*/ 0 h 6289674"/>
                <a:gd name="connsiteX0" fmla="*/ 2453202 w 2453202"/>
                <a:gd name="connsiteY0" fmla="*/ 0 h 6289674"/>
                <a:gd name="connsiteX1" fmla="*/ 2410365 w 2453202"/>
                <a:gd name="connsiteY1" fmla="*/ 6289674 h 6289674"/>
                <a:gd name="connsiteX2" fmla="*/ 0 w 2453202"/>
                <a:gd name="connsiteY2" fmla="*/ 5787017 h 6289674"/>
                <a:gd name="connsiteX3" fmla="*/ 293768 w 2453202"/>
                <a:gd name="connsiteY3" fmla="*/ 5091732 h 6289674"/>
                <a:gd name="connsiteX4" fmla="*/ 393148 w 2453202"/>
                <a:gd name="connsiteY4" fmla="*/ 4375646 h 6289674"/>
                <a:gd name="connsiteX5" fmla="*/ 2453202 w 2453202"/>
                <a:gd name="connsiteY5" fmla="*/ 0 h 6289674"/>
                <a:gd name="connsiteX0" fmla="*/ 2453202 w 2453202"/>
                <a:gd name="connsiteY0" fmla="*/ 6692 h 6296366"/>
                <a:gd name="connsiteX1" fmla="*/ 2410365 w 2453202"/>
                <a:gd name="connsiteY1" fmla="*/ 6296366 h 6296366"/>
                <a:gd name="connsiteX2" fmla="*/ 0 w 2453202"/>
                <a:gd name="connsiteY2" fmla="*/ 5793709 h 6296366"/>
                <a:gd name="connsiteX3" fmla="*/ 293768 w 2453202"/>
                <a:gd name="connsiteY3" fmla="*/ 5098424 h 6296366"/>
                <a:gd name="connsiteX4" fmla="*/ 2453202 w 2453202"/>
                <a:gd name="connsiteY4" fmla="*/ 6692 h 6296366"/>
                <a:gd name="connsiteX0" fmla="*/ 2453202 w 2453202"/>
                <a:gd name="connsiteY0" fmla="*/ 10427 h 6300101"/>
                <a:gd name="connsiteX1" fmla="*/ 2410365 w 2453202"/>
                <a:gd name="connsiteY1" fmla="*/ 6300101 h 6300101"/>
                <a:gd name="connsiteX2" fmla="*/ 0 w 2453202"/>
                <a:gd name="connsiteY2" fmla="*/ 5797444 h 6300101"/>
                <a:gd name="connsiteX3" fmla="*/ 1091056 w 2453202"/>
                <a:gd name="connsiteY3" fmla="*/ 3497415 h 6300101"/>
                <a:gd name="connsiteX4" fmla="*/ 2453202 w 2453202"/>
                <a:gd name="connsiteY4" fmla="*/ 10427 h 6300101"/>
                <a:gd name="connsiteX0" fmla="*/ 1368724 w 1368724"/>
                <a:gd name="connsiteY0" fmla="*/ 10427 h 6300101"/>
                <a:gd name="connsiteX1" fmla="*/ 1325887 w 1368724"/>
                <a:gd name="connsiteY1" fmla="*/ 6300101 h 6300101"/>
                <a:gd name="connsiteX2" fmla="*/ 113930 w 1368724"/>
                <a:gd name="connsiteY2" fmla="*/ 3900928 h 6300101"/>
                <a:gd name="connsiteX3" fmla="*/ 6578 w 1368724"/>
                <a:gd name="connsiteY3" fmla="*/ 3497415 h 6300101"/>
                <a:gd name="connsiteX4" fmla="*/ 1368724 w 1368724"/>
                <a:gd name="connsiteY4" fmla="*/ 10427 h 6300101"/>
                <a:gd name="connsiteX0" fmla="*/ 1390849 w 1390849"/>
                <a:gd name="connsiteY0" fmla="*/ 10427 h 6300101"/>
                <a:gd name="connsiteX1" fmla="*/ 1348012 w 1390849"/>
                <a:gd name="connsiteY1" fmla="*/ 6300101 h 6300101"/>
                <a:gd name="connsiteX2" fmla="*/ 136055 w 1390849"/>
                <a:gd name="connsiteY2" fmla="*/ 3900928 h 6300101"/>
                <a:gd name="connsiteX3" fmla="*/ 28703 w 1390849"/>
                <a:gd name="connsiteY3" fmla="*/ 3497415 h 6300101"/>
                <a:gd name="connsiteX4" fmla="*/ 1390849 w 1390849"/>
                <a:gd name="connsiteY4" fmla="*/ 10427 h 6300101"/>
                <a:gd name="connsiteX0" fmla="*/ 1411020 w 1411020"/>
                <a:gd name="connsiteY0" fmla="*/ 10450 h 6300124"/>
                <a:gd name="connsiteX1" fmla="*/ 1368183 w 1411020"/>
                <a:gd name="connsiteY1" fmla="*/ 6300124 h 6300124"/>
                <a:gd name="connsiteX2" fmla="*/ 156226 w 1411020"/>
                <a:gd name="connsiteY2" fmla="*/ 3900951 h 6300124"/>
                <a:gd name="connsiteX3" fmla="*/ 24114 w 1411020"/>
                <a:gd name="connsiteY3" fmla="*/ 3491095 h 6300124"/>
                <a:gd name="connsiteX4" fmla="*/ 1411020 w 1411020"/>
                <a:gd name="connsiteY4" fmla="*/ 10450 h 6300124"/>
                <a:gd name="connsiteX0" fmla="*/ 1386906 w 1386906"/>
                <a:gd name="connsiteY0" fmla="*/ 10450 h 6300124"/>
                <a:gd name="connsiteX1" fmla="*/ 1344069 w 1386906"/>
                <a:gd name="connsiteY1" fmla="*/ 6300124 h 6300124"/>
                <a:gd name="connsiteX2" fmla="*/ 132112 w 1386906"/>
                <a:gd name="connsiteY2" fmla="*/ 3900951 h 6300124"/>
                <a:gd name="connsiteX3" fmla="*/ 0 w 1386906"/>
                <a:gd name="connsiteY3" fmla="*/ 3491095 h 6300124"/>
                <a:gd name="connsiteX4" fmla="*/ 1386906 w 1386906"/>
                <a:gd name="connsiteY4" fmla="*/ 10450 h 6300124"/>
                <a:gd name="connsiteX0" fmla="*/ 1386906 w 1386906"/>
                <a:gd name="connsiteY0" fmla="*/ -1 h 6289673"/>
                <a:gd name="connsiteX1" fmla="*/ 1344069 w 1386906"/>
                <a:gd name="connsiteY1" fmla="*/ 6289673 h 6289673"/>
                <a:gd name="connsiteX2" fmla="*/ 132112 w 1386906"/>
                <a:gd name="connsiteY2" fmla="*/ 3890500 h 6289673"/>
                <a:gd name="connsiteX3" fmla="*/ 0 w 1386906"/>
                <a:gd name="connsiteY3" fmla="*/ 3480644 h 6289673"/>
                <a:gd name="connsiteX4" fmla="*/ 1386906 w 1386906"/>
                <a:gd name="connsiteY4" fmla="*/ -1 h 628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6906" h="6289673">
                  <a:moveTo>
                    <a:pt x="1386906" y="-1"/>
                  </a:moveTo>
                  <a:lnTo>
                    <a:pt x="1344069" y="6289673"/>
                  </a:lnTo>
                  <a:lnTo>
                    <a:pt x="132112" y="3890500"/>
                  </a:lnTo>
                  <a:cubicBezTo>
                    <a:pt x="10445" y="3495271"/>
                    <a:pt x="137512" y="3868102"/>
                    <a:pt x="0" y="3480644"/>
                  </a:cubicBezTo>
                  <a:cubicBezTo>
                    <a:pt x="408867" y="2516141"/>
                    <a:pt x="261613" y="2737087"/>
                    <a:pt x="1386906" y="-1"/>
                  </a:cubicBezTo>
                  <a:close/>
                </a:path>
              </a:pathLst>
            </a:custGeom>
            <a:gradFill flip="none" rotWithShape="1">
              <a:gsLst>
                <a:gs pos="21000">
                  <a:schemeClr val="accent3">
                    <a:alpha val="77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 w="2857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871057">
                <a:defRPr/>
              </a:pPr>
              <a:endParaRPr lang="en-US" sz="1715">
                <a:solidFill>
                  <a:prstClr val="white"/>
                </a:solidFill>
                <a:latin typeface="Trebuchet MS"/>
              </a:endParaRPr>
            </a:p>
          </p:txBody>
        </p:sp>
      </p:grpSp>
      <p:sp>
        <p:nvSpPr>
          <p:cNvPr id="126" name="TextBox 125">
            <a:extLst>
              <a:ext uri="{FF2B5EF4-FFF2-40B4-BE49-F238E27FC236}">
                <a16:creationId xmlns:a16="http://schemas.microsoft.com/office/drawing/2014/main" id="{19291B32-05FA-DFD2-FC85-E811479CE667}"/>
              </a:ext>
            </a:extLst>
          </p:cNvPr>
          <p:cNvSpPr txBox="1"/>
          <p:nvPr/>
        </p:nvSpPr>
        <p:spPr>
          <a:xfrm>
            <a:off x="887852" y="3991037"/>
            <a:ext cx="522630" cy="17588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871057">
              <a:defRPr/>
            </a:pPr>
            <a:r>
              <a:rPr lang="en-US" sz="1143">
                <a:solidFill>
                  <a:prstClr val="white"/>
                </a:solidFill>
                <a:latin typeface="Trebuchet MS"/>
                <a:sym typeface="Trebuchet MS" panose="020B0603020202020204" pitchFamily="34" charset="0"/>
              </a:rPr>
              <a:t>Known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83748259-30C3-7C52-927C-FDB417034100}"/>
              </a:ext>
            </a:extLst>
          </p:cNvPr>
          <p:cNvSpPr txBox="1"/>
          <p:nvPr/>
        </p:nvSpPr>
        <p:spPr>
          <a:xfrm>
            <a:off x="887852" y="5222754"/>
            <a:ext cx="522630" cy="175882"/>
          </a:xfrm>
          <a:prstGeom prst="rect">
            <a:avLst/>
          </a:prstGeom>
          <a:noFill/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871057">
              <a:defRPr/>
            </a:pPr>
            <a:r>
              <a:rPr lang="en-US" sz="1143">
                <a:solidFill>
                  <a:prstClr val="white"/>
                </a:solidFill>
                <a:latin typeface="Trebuchet MS"/>
                <a:sym typeface="Trebuchet MS" panose="020B0603020202020204" pitchFamily="34" charset="0"/>
              </a:rPr>
              <a:t>Proven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3E1869E9-E380-4BF9-8A16-E3B27A6349DE}"/>
              </a:ext>
            </a:extLst>
          </p:cNvPr>
          <p:cNvSpPr txBox="1"/>
          <p:nvPr/>
        </p:nvSpPr>
        <p:spPr>
          <a:xfrm>
            <a:off x="6395771" y="4145875"/>
            <a:ext cx="4654801" cy="23455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241294" indent="-241294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ü"/>
              <a:defRPr sz="1400"/>
            </a:lvl1pPr>
          </a:lstStyle>
          <a:p>
            <a:pPr marL="102881" lvl="1" algn="ctr" defTabSz="871057">
              <a:spcAft>
                <a:spcPts val="286"/>
              </a:spcAft>
              <a:buClr>
                <a:prstClr val="white"/>
              </a:buClr>
              <a:defRPr/>
            </a:pPr>
            <a:r>
              <a:rPr lang="en-US" sz="1524" b="1" dirty="0">
                <a:solidFill>
                  <a:srgbClr val="FFD700"/>
                </a:solidFill>
                <a:latin typeface="Trebuchet MS"/>
              </a:rPr>
              <a:t>Key characteristics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88D81EF7-0A6C-4399-B705-F20D56A930A7}"/>
              </a:ext>
            </a:extLst>
          </p:cNvPr>
          <p:cNvCxnSpPr>
            <a:cxnSpLocks/>
          </p:cNvCxnSpPr>
          <p:nvPr/>
        </p:nvCxnSpPr>
        <p:spPr>
          <a:xfrm flipH="1">
            <a:off x="6544602" y="4429118"/>
            <a:ext cx="4654802" cy="0"/>
          </a:xfrm>
          <a:prstGeom prst="line">
            <a:avLst/>
          </a:prstGeom>
          <a:ln w="9525" cap="rnd">
            <a:solidFill>
              <a:schemeClr val="bg1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DAB65FBA-056D-426B-B047-AFC95DAB28C9}"/>
              </a:ext>
            </a:extLst>
          </p:cNvPr>
          <p:cNvSpPr txBox="1"/>
          <p:nvPr/>
        </p:nvSpPr>
        <p:spPr>
          <a:xfrm>
            <a:off x="836222" y="696235"/>
            <a:ext cx="5102352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it-IT" sz="1905" b="1" dirty="0">
                <a:solidFill>
                  <a:srgbClr val="BCF6D3"/>
                </a:solidFill>
                <a:latin typeface="Trebuchet MS"/>
              </a:rPr>
              <a:t>Significant resource in Mio-Pliocen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92E50C8-D646-4AC3-B184-D8D4CB1ED200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3665834" y="6538633"/>
            <a:ext cx="170883" cy="127028"/>
          </a:xfrm>
          <a:prstGeom prst="rect">
            <a:avLst/>
          </a:prstGeom>
          <a:solidFill>
            <a:srgbClr val="5A5A5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6479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endParaRPr lang="en-US" sz="1143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2A54B64-E613-49A8-AF8F-3B0044C26E85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2121838" y="6538633"/>
            <a:ext cx="170883" cy="127028"/>
          </a:xfrm>
          <a:prstGeom prst="rect">
            <a:avLst/>
          </a:prstGeom>
          <a:solidFill>
            <a:srgbClr val="32B84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endParaRPr lang="en-US" sz="1143" err="1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86" name="Text Placeholder 3">
            <a:extLst>
              <a:ext uri="{FF2B5EF4-FFF2-40B4-BE49-F238E27FC236}">
                <a16:creationId xmlns:a16="http://schemas.microsoft.com/office/drawing/2014/main" id="{F7CFBAA6-7346-4399-BE00-E62BD5213D1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341113" y="6523512"/>
            <a:ext cx="1227937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871057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53" dirty="0" err="1">
                <a:latin typeface="Trebuchet MS"/>
              </a:rPr>
              <a:t>Discovered_MMTOE</a:t>
            </a:r>
            <a:endParaRPr lang="en-US" sz="953" dirty="0">
              <a:latin typeface="Trebuchet MS"/>
            </a:endParaRPr>
          </a:p>
        </p:txBody>
      </p:sp>
      <p:sp>
        <p:nvSpPr>
          <p:cNvPr id="87" name="Text Placeholder 3">
            <a:extLst>
              <a:ext uri="{FF2B5EF4-FFF2-40B4-BE49-F238E27FC236}">
                <a16:creationId xmlns:a16="http://schemas.microsoft.com/office/drawing/2014/main" id="{FE7CFB41-C5E1-4B97-8D75-CF9B392B95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885108" y="6523512"/>
            <a:ext cx="1749660" cy="160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264796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264796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6479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defTabSz="871057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53" dirty="0" err="1">
                <a:latin typeface="Trebuchet MS"/>
              </a:rPr>
              <a:t>Undiscovered_MMTOE</a:t>
            </a:r>
            <a:endParaRPr lang="en-US" sz="953" dirty="0">
              <a:latin typeface="Trebuchet M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C0B8E370-07F6-4688-8A7A-80969269D1CC}"/>
              </a:ext>
            </a:extLst>
          </p:cNvPr>
          <p:cNvSpPr/>
          <p:nvPr/>
        </p:nvSpPr>
        <p:spPr>
          <a:xfrm>
            <a:off x="11294226" y="6384647"/>
            <a:ext cx="359892" cy="222334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A224FA5B-2262-4A4E-98CE-D1681770090F}"/>
              </a:ext>
            </a:extLst>
          </p:cNvPr>
          <p:cNvCxnSpPr/>
          <p:nvPr/>
        </p:nvCxnSpPr>
        <p:spPr>
          <a:xfrm>
            <a:off x="31554" y="579604"/>
            <a:ext cx="12124944" cy="0"/>
          </a:xfrm>
          <a:prstGeom prst="line">
            <a:avLst/>
          </a:prstGeom>
          <a:ln w="101600" cap="rnd" cmpd="thinThick">
            <a:solidFill>
              <a:schemeClr val="tx2">
                <a:lumMod val="5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TextBox 116">
            <a:extLst>
              <a:ext uri="{FF2B5EF4-FFF2-40B4-BE49-F238E27FC236}">
                <a16:creationId xmlns:a16="http://schemas.microsoft.com/office/drawing/2014/main" id="{CECE15DA-CC57-4949-8D0A-C3311FF5D18C}"/>
              </a:ext>
            </a:extLst>
          </p:cNvPr>
          <p:cNvSpPr txBox="1"/>
          <p:nvPr/>
        </p:nvSpPr>
        <p:spPr>
          <a:xfrm>
            <a:off x="4051029" y="145886"/>
            <a:ext cx="6335986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>
            <a:spAutoFit/>
          </a:bodyPr>
          <a:lstStyle/>
          <a:p>
            <a:pPr algn="ctr" defTabSz="871057">
              <a:defRPr/>
            </a:pPr>
            <a:r>
              <a:rPr lang="en-US" sz="2400" b="1" dirty="0">
                <a:solidFill>
                  <a:srgbClr val="000066"/>
                </a:solidFill>
                <a:latin typeface="Trebuchet MS"/>
              </a:rPr>
              <a:t>Mahanadi Basin (Blocks under Finalization)</a:t>
            </a:r>
          </a:p>
        </p:txBody>
      </p:sp>
    </p:spTree>
    <p:extLst>
      <p:ext uri="{BB962C8B-B14F-4D97-AF65-F5344CB8AC3E}">
        <p14:creationId xmlns:p14="http://schemas.microsoft.com/office/powerpoint/2010/main" val="4329565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C7D620D1-5AD5-4344-B058-5E6B72F5B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509" y="250588"/>
            <a:ext cx="10165422" cy="610919"/>
          </a:xfrm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Touch Points for Facilitation </a:t>
            </a:r>
            <a:endParaRPr lang="en-IN" sz="2800" b="1" dirty="0">
              <a:solidFill>
                <a:srgbClr val="0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6B93E79-4C1D-4F12-BBDA-36D1F63CEDA6}"/>
              </a:ext>
            </a:extLst>
          </p:cNvPr>
          <p:cNvCxnSpPr>
            <a:cxnSpLocks/>
          </p:cNvCxnSpPr>
          <p:nvPr/>
        </p:nvCxnSpPr>
        <p:spPr>
          <a:xfrm>
            <a:off x="740024" y="829688"/>
            <a:ext cx="10904560" cy="34473"/>
          </a:xfrm>
          <a:prstGeom prst="line">
            <a:avLst/>
          </a:prstGeom>
          <a:ln w="38100">
            <a:solidFill>
              <a:srgbClr val="00808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5F45F156-96BC-4667-B2B1-157122EB66AD}"/>
              </a:ext>
            </a:extLst>
          </p:cNvPr>
          <p:cNvGrpSpPr/>
          <p:nvPr/>
        </p:nvGrpSpPr>
        <p:grpSpPr>
          <a:xfrm>
            <a:off x="706690" y="995474"/>
            <a:ext cx="10861422" cy="5226472"/>
            <a:chOff x="670817" y="1023929"/>
            <a:chExt cx="10861422" cy="5226472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0990896-8598-4299-AD9A-273865032982}"/>
                </a:ext>
              </a:extLst>
            </p:cNvPr>
            <p:cNvSpPr txBox="1"/>
            <p:nvPr/>
          </p:nvSpPr>
          <p:spPr>
            <a:xfrm>
              <a:off x="1613852" y="1081740"/>
              <a:ext cx="4339119" cy="368049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inistry of Petroleum and Natural Ga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07A4360-813B-41C8-A908-09CDBB5BE111}"/>
                </a:ext>
              </a:extLst>
            </p:cNvPr>
            <p:cNvSpPr/>
            <p:nvPr/>
          </p:nvSpPr>
          <p:spPr>
            <a:xfrm>
              <a:off x="670817" y="1047217"/>
              <a:ext cx="5308147" cy="1550862"/>
            </a:xfrm>
            <a:prstGeom prst="rect">
              <a:avLst/>
            </a:prstGeom>
            <a:noFill/>
            <a:ln w="9525" cap="rnd" cmpd="sng" algn="ctr">
              <a:solidFill>
                <a:srgbClr val="002060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A8E4F40-54FC-431D-A225-8CD6D2E293A8}"/>
                </a:ext>
              </a:extLst>
            </p:cNvPr>
            <p:cNvSpPr/>
            <p:nvPr/>
          </p:nvSpPr>
          <p:spPr>
            <a:xfrm>
              <a:off x="670817" y="1833767"/>
              <a:ext cx="5425183" cy="54886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ebsite-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999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://petroleum.nic.in/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99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8D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act us: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ttps://mopng.gov.in/en/about-us/phone-directory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F169A25-C6A3-42B2-B421-29E25E0BCE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0817" y="1154499"/>
              <a:ext cx="1162156" cy="545223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A8A69C6-E710-4091-A934-23A3A0854972}"/>
                </a:ext>
              </a:extLst>
            </p:cNvPr>
            <p:cNvSpPr/>
            <p:nvPr/>
          </p:nvSpPr>
          <p:spPr>
            <a:xfrm>
              <a:off x="6224092" y="4699539"/>
              <a:ext cx="5308147" cy="1550862"/>
            </a:xfrm>
            <a:prstGeom prst="rect">
              <a:avLst/>
            </a:prstGeom>
            <a:noFill/>
            <a:ln w="9525" cap="rnd" cmpd="sng" algn="ctr">
              <a:solidFill>
                <a:srgbClr val="002060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292CA50D-F690-4D7B-93F9-35867A5224A3}"/>
                </a:ext>
              </a:extLst>
            </p:cNvPr>
            <p:cNvGrpSpPr/>
            <p:nvPr/>
          </p:nvGrpSpPr>
          <p:grpSpPr>
            <a:xfrm>
              <a:off x="756160" y="4667687"/>
              <a:ext cx="5308147" cy="1550862"/>
              <a:chOff x="6224092" y="938625"/>
              <a:chExt cx="5308147" cy="1550862"/>
            </a:xfrm>
          </p:grpSpPr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DB7717C6-3892-44B9-836B-CBEB6E950EF9}"/>
                  </a:ext>
                </a:extLst>
              </p:cNvPr>
              <p:cNvGrpSpPr/>
              <p:nvPr/>
            </p:nvGrpSpPr>
            <p:grpSpPr>
              <a:xfrm>
                <a:off x="6224092" y="938625"/>
                <a:ext cx="5308147" cy="1550862"/>
                <a:chOff x="6224092" y="938625"/>
                <a:chExt cx="5308147" cy="1550862"/>
              </a:xfrm>
            </p:grpSpPr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26E2C79C-B24F-41D7-87B0-C90C50C5468B}"/>
                    </a:ext>
                  </a:extLst>
                </p:cNvPr>
                <p:cNvSpPr/>
                <p:nvPr/>
              </p:nvSpPr>
              <p:spPr>
                <a:xfrm>
                  <a:off x="6224092" y="938625"/>
                  <a:ext cx="5308147" cy="1550862"/>
                </a:xfrm>
                <a:prstGeom prst="rect">
                  <a:avLst/>
                </a:prstGeom>
                <a:noFill/>
                <a:ln w="9525" cap="rnd" cmpd="sng" algn="ctr">
                  <a:solidFill>
                    <a:srgbClr val="002060"/>
                  </a:solidFill>
                  <a:prstDash val="dash"/>
                  <a:round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N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531A348A-04B5-405A-96E1-AC12DE590EC9}"/>
                    </a:ext>
                  </a:extLst>
                </p:cNvPr>
                <p:cNvSpPr txBox="1"/>
                <p:nvPr/>
              </p:nvSpPr>
              <p:spPr>
                <a:xfrm>
                  <a:off x="6380252" y="1081740"/>
                  <a:ext cx="5140931" cy="646331"/>
                </a:xfrm>
                <a:prstGeom prst="rect">
                  <a:avLst/>
                </a:prstGeom>
                <a:noFill/>
                <a:ln w="9525" cap="rnd" cmpd="sng" algn="ctr">
                  <a:noFill/>
                  <a:prstDash val="solid"/>
                  <a:rou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2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Hydrocarbon Exploration and Licensing Policy OALP Bid Rounds</a:t>
                  </a:r>
                </a:p>
              </p:txBody>
            </p: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643E010E-86D5-4EF5-8FD4-4EC5A07A4994}"/>
                  </a:ext>
                </a:extLst>
              </p:cNvPr>
              <p:cNvSpPr txBox="1"/>
              <p:nvPr/>
            </p:nvSpPr>
            <p:spPr>
              <a:xfrm>
                <a:off x="6266237" y="1894808"/>
                <a:ext cx="5223856" cy="548868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Website- 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9999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hlinkClick r:id="rId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http://online.dghindia.org/oalp/</a:t>
                </a:r>
                <a:endPara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999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acilitation Desk Email: 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Facilitationoal@dghindia.gov.in</a:t>
                </a:r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6097E9A-098C-46D2-859A-41F9374ADA65}"/>
                </a:ext>
              </a:extLst>
            </p:cNvPr>
            <p:cNvSpPr txBox="1"/>
            <p:nvPr/>
          </p:nvSpPr>
          <p:spPr>
            <a:xfrm>
              <a:off x="6538351" y="4918995"/>
              <a:ext cx="4306526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ational Data Repository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92D4B8A-1536-49A1-A2A2-A6B1D3DEA875}"/>
                </a:ext>
              </a:extLst>
            </p:cNvPr>
            <p:cNvSpPr/>
            <p:nvPr/>
          </p:nvSpPr>
          <p:spPr>
            <a:xfrm>
              <a:off x="6538351" y="5565873"/>
              <a:ext cx="3933425" cy="54886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ebsite: 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999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www.ndrdgh.gov.in/NDR/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99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ail: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ndr@dghindia.gov.in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766D1EE-D95E-4F9B-BF75-B7CF3108FC9A}"/>
                </a:ext>
              </a:extLst>
            </p:cNvPr>
            <p:cNvGrpSpPr/>
            <p:nvPr/>
          </p:nvGrpSpPr>
          <p:grpSpPr>
            <a:xfrm>
              <a:off x="6224092" y="1023929"/>
              <a:ext cx="5308147" cy="1619457"/>
              <a:chOff x="659761" y="4770563"/>
              <a:chExt cx="5308147" cy="1619457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675A6A57-2450-4826-BE53-9A4C09308CC0}"/>
                  </a:ext>
                </a:extLst>
              </p:cNvPr>
              <p:cNvSpPr/>
              <p:nvPr/>
            </p:nvSpPr>
            <p:spPr>
              <a:xfrm>
                <a:off x="659761" y="4770563"/>
                <a:ext cx="5308147" cy="1550862"/>
              </a:xfrm>
              <a:prstGeom prst="rect">
                <a:avLst/>
              </a:prstGeom>
              <a:noFill/>
              <a:ln w="9525" cap="rnd" cmpd="sng" algn="ctr">
                <a:solidFill>
                  <a:srgbClr val="002060"/>
                </a:solidFill>
                <a:prstDash val="dash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7298A5B-CA22-47AC-84DE-D2D8DA4BC69F}"/>
                  </a:ext>
                </a:extLst>
              </p:cNvPr>
              <p:cNvSpPr/>
              <p:nvPr/>
            </p:nvSpPr>
            <p:spPr>
              <a:xfrm>
                <a:off x="1639846" y="4843438"/>
                <a:ext cx="4206150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irectorate General of Hydrocarbons</a:t>
                </a:r>
              </a:p>
            </p:txBody>
          </p:sp>
          <p:pic>
            <p:nvPicPr>
              <p:cNvPr id="20" name="Picture 2" descr="C:\Users\ANAND\Desktop\Anand\cover\HELP COVER\IMAGE-DATA\logo_dgh1_psd.gif">
                <a:extLst>
                  <a:ext uri="{FF2B5EF4-FFF2-40B4-BE49-F238E27FC236}">
                    <a16:creationId xmlns:a16="http://schemas.microsoft.com/office/drawing/2014/main" id="{09EF2790-B313-44E3-B80D-8134B81E3C3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670817" y="4805675"/>
                <a:ext cx="969028" cy="545221"/>
              </a:xfrm>
              <a:prstGeom prst="rect">
                <a:avLst/>
              </a:prstGeom>
              <a:noFill/>
            </p:spPr>
          </p:pic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0026BBDA-4503-4B41-AB51-E5A2F17359D9}"/>
                  </a:ext>
                </a:extLst>
              </p:cNvPr>
              <p:cNvSpPr/>
              <p:nvPr/>
            </p:nvSpPr>
            <p:spPr>
              <a:xfrm>
                <a:off x="776797" y="5569282"/>
                <a:ext cx="4856233" cy="82073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Website-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9999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https://dghindia.gov.in/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ontact us: 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546A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en-US" sz="1400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http://dghindia.gov.in/contact_english.php</a:t>
                </a:r>
                <a:endPara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sng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3" name="object 3">
            <a:extLst>
              <a:ext uri="{FF2B5EF4-FFF2-40B4-BE49-F238E27FC236}">
                <a16:creationId xmlns:a16="http://schemas.microsoft.com/office/drawing/2014/main" id="{AE474E75-3B92-67C4-DD81-71E49D5ED240}"/>
              </a:ext>
            </a:extLst>
          </p:cNvPr>
          <p:cNvSpPr txBox="1"/>
          <p:nvPr/>
        </p:nvSpPr>
        <p:spPr>
          <a:xfrm>
            <a:off x="4616641" y="3307473"/>
            <a:ext cx="274320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lvl="0" indent="32131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5656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t in touch at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5656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sz="1800" b="1" i="0" u="none" strike="noStrike" kern="1200" cap="none" spc="-25" normalizeH="0" baseline="0" noProof="0" dirty="0">
                <a:ln>
                  <a:noFill/>
                </a:ln>
                <a:solidFill>
                  <a:srgbClr val="5656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"</a:t>
            </a:r>
            <a:r>
              <a:rPr kumimoji="0" sz="1800" b="1" i="0" u="none" strike="noStrike" kern="1200" cap="none" spc="-25" normalizeH="0" baseline="0" noProof="0" dirty="0">
                <a:ln>
                  <a:noFill/>
                </a:ln>
                <a:solidFill>
                  <a:srgbClr val="295E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8"/>
              </a:rPr>
              <a:t>investOnG@gov.in</a:t>
            </a:r>
            <a:r>
              <a:rPr kumimoji="0" sz="1800" b="1" i="0" u="none" strike="noStrike" kern="1200" cap="none" spc="-25" normalizeH="0" baseline="0" noProof="0" dirty="0">
                <a:ln>
                  <a:noFill/>
                </a:ln>
                <a:solidFill>
                  <a:srgbClr val="5656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"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87127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C7D620D1-5AD5-4344-B058-5E6B72F5B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509" y="250588"/>
            <a:ext cx="10165422" cy="610919"/>
          </a:xfrm>
        </p:spPr>
        <p:txBody>
          <a:bodyPr>
            <a:normAutofit/>
          </a:bodyPr>
          <a:lstStyle/>
          <a:p>
            <a:pPr algn="ctr"/>
            <a:r>
              <a:rPr lang="en-IN" sz="2800" b="1" dirty="0">
                <a:solidFill>
                  <a:srgbClr val="000066"/>
                </a:solidFill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No-Go Areas Opened for E&amp; P Activiti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44D4BA8-119C-44BE-8032-DC2A8E615EE3}"/>
              </a:ext>
            </a:extLst>
          </p:cNvPr>
          <p:cNvGrpSpPr/>
          <p:nvPr/>
        </p:nvGrpSpPr>
        <p:grpSpPr>
          <a:xfrm>
            <a:off x="1092510" y="1563188"/>
            <a:ext cx="8851589" cy="4956116"/>
            <a:chOff x="871103" y="2355600"/>
            <a:chExt cx="7069989" cy="428131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62CCAC9-DB5A-4993-A2E9-C35F5FCDE4AE}"/>
                </a:ext>
              </a:extLst>
            </p:cNvPr>
            <p:cNvSpPr/>
            <p:nvPr/>
          </p:nvSpPr>
          <p:spPr>
            <a:xfrm>
              <a:off x="4488444" y="2810512"/>
              <a:ext cx="3452648" cy="3826401"/>
            </a:xfrm>
            <a:prstGeom prst="rect">
              <a:avLst/>
            </a:prstGeom>
            <a:solidFill>
              <a:srgbClr val="D9D9D9"/>
            </a:solidFill>
            <a:ln>
              <a:solidFill>
                <a:srgbClr val="D9D9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1344B71-7A49-4897-B6EE-BA418EA2A41F}"/>
                </a:ext>
              </a:extLst>
            </p:cNvPr>
            <p:cNvSpPr/>
            <p:nvPr/>
          </p:nvSpPr>
          <p:spPr>
            <a:xfrm>
              <a:off x="893845" y="2803214"/>
              <a:ext cx="3452648" cy="3833699"/>
            </a:xfrm>
            <a:prstGeom prst="rect">
              <a:avLst/>
            </a:prstGeom>
            <a:solidFill>
              <a:srgbClr val="D9D9D9"/>
            </a:solidFill>
            <a:ln>
              <a:solidFill>
                <a:srgbClr val="D9D9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7B1A2F3-64A6-42BD-B9C6-E3C7E63B4B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1" t="22724" r="1120" b="1450"/>
            <a:stretch/>
          </p:blipFill>
          <p:spPr>
            <a:xfrm>
              <a:off x="996457" y="2941128"/>
              <a:ext cx="3247423" cy="349784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solidFill>
                <a:srgbClr val="006666"/>
              </a:solidFill>
              <a:prstDash val="solid"/>
              <a:miter lim="800000"/>
            </a:ln>
            <a:effectLst/>
          </p:spPr>
        </p:pic>
        <p:sp>
          <p:nvSpPr>
            <p:cNvPr id="15" name="Arrow: Left-Right 21">
              <a:extLst>
                <a:ext uri="{FF2B5EF4-FFF2-40B4-BE49-F238E27FC236}">
                  <a16:creationId xmlns:a16="http://schemas.microsoft.com/office/drawing/2014/main" id="{D0E48B17-D490-4F73-9347-08EEB71E68AA}"/>
                </a:ext>
              </a:extLst>
            </p:cNvPr>
            <p:cNvSpPr/>
            <p:nvPr/>
          </p:nvSpPr>
          <p:spPr>
            <a:xfrm>
              <a:off x="871103" y="2364860"/>
              <a:ext cx="3452648" cy="350325"/>
            </a:xfrm>
            <a:prstGeom prst="leftRightArrow">
              <a:avLst>
                <a:gd name="adj1" fmla="val 100000"/>
                <a:gd name="adj2" fmla="val 12004"/>
              </a:avLst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00666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Earlier </a:t>
              </a:r>
            </a:p>
          </p:txBody>
        </p:sp>
        <p:sp>
          <p:nvSpPr>
            <p:cNvPr id="16" name="Arrow: Left-Right 21">
              <a:extLst>
                <a:ext uri="{FF2B5EF4-FFF2-40B4-BE49-F238E27FC236}">
                  <a16:creationId xmlns:a16="http://schemas.microsoft.com/office/drawing/2014/main" id="{BDA1FC40-0443-4991-98C5-F059A864796A}"/>
                </a:ext>
              </a:extLst>
            </p:cNvPr>
            <p:cNvSpPr/>
            <p:nvPr/>
          </p:nvSpPr>
          <p:spPr>
            <a:xfrm>
              <a:off x="4488443" y="2355600"/>
              <a:ext cx="3452648" cy="350325"/>
            </a:xfrm>
            <a:prstGeom prst="leftRightArrow">
              <a:avLst>
                <a:gd name="adj1" fmla="val 100000"/>
                <a:gd name="adj2" fmla="val 12004"/>
              </a:avLst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rgbClr val="00666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Now</a:t>
              </a:r>
            </a:p>
          </p:txBody>
        </p:sp>
        <p:pic>
          <p:nvPicPr>
            <p:cNvPr id="17" name="Picture 16" descr="Map&#10;&#10;Description automatically generated">
              <a:extLst>
                <a:ext uri="{FF2B5EF4-FFF2-40B4-BE49-F238E27FC236}">
                  <a16:creationId xmlns:a16="http://schemas.microsoft.com/office/drawing/2014/main" id="{4CE5AF94-7A94-4267-8267-B7806DD245B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0" t="22725" r="1119" b="1565"/>
            <a:stretch/>
          </p:blipFill>
          <p:spPr>
            <a:xfrm>
              <a:off x="4596244" y="2969946"/>
              <a:ext cx="3218424" cy="344712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solidFill>
                <a:srgbClr val="006666"/>
              </a:solidFill>
              <a:prstDash val="solid"/>
              <a:miter lim="800000"/>
            </a:ln>
            <a:effectLst/>
          </p:spPr>
        </p:pic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175FA226-BA4A-475F-918C-48F7C79FD1B9}"/>
              </a:ext>
            </a:extLst>
          </p:cNvPr>
          <p:cNvSpPr txBox="1">
            <a:spLocks/>
          </p:cNvSpPr>
          <p:nvPr/>
        </p:nvSpPr>
        <p:spPr>
          <a:xfrm>
            <a:off x="833929" y="952269"/>
            <a:ext cx="6942397" cy="6109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99% of earlier No-Go areas (~1 mn sq.km) opened for E&amp;P</a:t>
            </a:r>
            <a:endParaRPr kumimoji="0" lang="en-IN" sz="1800" b="1" i="0" u="sng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02259B-772E-4D0F-89B5-D874B7914FFE}"/>
              </a:ext>
            </a:extLst>
          </p:cNvPr>
          <p:cNvCxnSpPr/>
          <p:nvPr/>
        </p:nvCxnSpPr>
        <p:spPr>
          <a:xfrm>
            <a:off x="23138" y="904781"/>
            <a:ext cx="12124944" cy="0"/>
          </a:xfrm>
          <a:prstGeom prst="line">
            <a:avLst/>
          </a:prstGeom>
          <a:ln w="101600" cap="rnd" cmpd="thinThick">
            <a:solidFill>
              <a:schemeClr val="tx2">
                <a:lumMod val="5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18851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Group 58"/>
          <p:cNvGrpSpPr/>
          <p:nvPr/>
        </p:nvGrpSpPr>
        <p:grpSpPr>
          <a:xfrm>
            <a:off x="8358807" y="5951761"/>
            <a:ext cx="3230218" cy="823724"/>
            <a:chOff x="8358807" y="5845431"/>
            <a:chExt cx="3230218" cy="823724"/>
          </a:xfrm>
        </p:grpSpPr>
        <p:sp>
          <p:nvSpPr>
            <p:cNvPr id="30" name="Rectangle 29"/>
            <p:cNvSpPr/>
            <p:nvPr/>
          </p:nvSpPr>
          <p:spPr>
            <a:xfrm>
              <a:off x="8358807" y="6241772"/>
              <a:ext cx="3230218" cy="42738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ward of Contract</a:t>
              </a:r>
              <a:endParaRPr lang="en-IN" dirty="0"/>
            </a:p>
          </p:txBody>
        </p:sp>
        <p:sp>
          <p:nvSpPr>
            <p:cNvPr id="31" name="Down Arrow 30"/>
            <p:cNvSpPr/>
            <p:nvPr/>
          </p:nvSpPr>
          <p:spPr>
            <a:xfrm>
              <a:off x="9829800" y="5845431"/>
              <a:ext cx="377687" cy="406279"/>
            </a:xfrm>
            <a:prstGeom prst="downArrow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646043" y="1136931"/>
            <a:ext cx="3230218" cy="5127958"/>
            <a:chOff x="646043" y="934910"/>
            <a:chExt cx="3230218" cy="5127958"/>
          </a:xfrm>
        </p:grpSpPr>
        <p:grpSp>
          <p:nvGrpSpPr>
            <p:cNvPr id="10" name="Group 9"/>
            <p:cNvGrpSpPr/>
            <p:nvPr/>
          </p:nvGrpSpPr>
          <p:grpSpPr>
            <a:xfrm>
              <a:off x="646043" y="1691538"/>
              <a:ext cx="3230218" cy="4371330"/>
              <a:chOff x="894521" y="1123122"/>
              <a:chExt cx="3483752" cy="4472608"/>
            </a:xfrm>
          </p:grpSpPr>
          <p:sp>
            <p:nvSpPr>
              <p:cNvPr id="4" name="Rectangle 3"/>
              <p:cNvSpPr/>
              <p:nvPr/>
            </p:nvSpPr>
            <p:spPr>
              <a:xfrm>
                <a:off x="894521" y="1123122"/>
                <a:ext cx="3483752" cy="4472608"/>
              </a:xfrm>
              <a:prstGeom prst="rect">
                <a:avLst/>
              </a:prstGeom>
              <a:noFill/>
              <a:ln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55B216D2-EE23-476B-A4DD-00C47662567D}"/>
                  </a:ext>
                </a:extLst>
              </p:cNvPr>
              <p:cNvSpPr/>
              <p:nvPr/>
            </p:nvSpPr>
            <p:spPr>
              <a:xfrm>
                <a:off x="1443957" y="1406604"/>
                <a:ext cx="2588546" cy="68478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 cap="flat" cmpd="sng" algn="ctr">
                <a:solidFill>
                  <a:srgbClr val="00666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lvl="0" algn="ctr">
                  <a:defRPr/>
                </a:pPr>
                <a:r>
                  <a:rPr kumimoji="0" lang="en-IN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Registration on NDR Portal to </a:t>
                </a:r>
                <a:r>
                  <a:rPr lang="en-IN" sz="1600" b="1" kern="0" dirty="0">
                    <a:solidFill>
                      <a:srgbClr val="002060"/>
                    </a:solidFill>
                    <a:latin typeface="Calibri" pitchFamily="34" charset="0"/>
                    <a:cs typeface="Calibri" pitchFamily="34" charset="0"/>
                  </a:rPr>
                  <a:t>access G&amp;G data</a:t>
                </a:r>
                <a:endPara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F33283F9-76BA-4596-AC01-7B9BC280B011}"/>
                  </a:ext>
                </a:extLst>
              </p:cNvPr>
              <p:cNvSpPr/>
              <p:nvPr/>
            </p:nvSpPr>
            <p:spPr>
              <a:xfrm>
                <a:off x="1418702" y="2910947"/>
                <a:ext cx="2613801" cy="75739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 cap="flat" cmpd="sng" algn="ctr">
                <a:solidFill>
                  <a:srgbClr val="00666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600" b="1" kern="0" dirty="0">
                    <a:solidFill>
                      <a:srgbClr val="002060"/>
                    </a:solidFill>
                    <a:latin typeface="Calibri" pitchFamily="34" charset="0"/>
                    <a:cs typeface="Calibri" pitchFamily="34" charset="0"/>
                  </a:rPr>
                  <a:t>Carving out blocks from the areas of interest</a:t>
                </a:r>
                <a:endParaRPr kumimoji="0" lang="en-I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F33283F9-76BA-4596-AC01-7B9BC280B011}"/>
                  </a:ext>
                </a:extLst>
              </p:cNvPr>
              <p:cNvSpPr/>
              <p:nvPr/>
            </p:nvSpPr>
            <p:spPr>
              <a:xfrm>
                <a:off x="1443957" y="4487908"/>
                <a:ext cx="2613801" cy="75739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 cap="flat" cmpd="sng" algn="ctr">
                <a:solidFill>
                  <a:srgbClr val="00666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IN" sz="1600" b="1" kern="0" dirty="0">
                    <a:solidFill>
                      <a:srgbClr val="002060"/>
                    </a:solidFill>
                    <a:latin typeface="Calibri" pitchFamily="34" charset="0"/>
                    <a:cs typeface="Calibri" pitchFamily="34" charset="0"/>
                  </a:rPr>
                  <a:t>Note</a:t>
                </a:r>
                <a:r>
                  <a:rPr kumimoji="0" lang="en-IN" sz="1600" b="1" i="0" u="none" strike="noStrike" kern="0" cap="none" spc="0" normalizeH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 Unique Identification (UID) Number</a:t>
                </a:r>
                <a:endParaRPr kumimoji="0" lang="en-I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8" name="Right Arrow 7"/>
              <p:cNvSpPr/>
              <p:nvPr/>
            </p:nvSpPr>
            <p:spPr>
              <a:xfrm rot="5400000">
                <a:off x="2278946" y="2433034"/>
                <a:ext cx="782305" cy="136263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9" name="Right Arrow 8"/>
              <p:cNvSpPr/>
              <p:nvPr/>
            </p:nvSpPr>
            <p:spPr>
              <a:xfrm rot="5400000">
                <a:off x="2278946" y="4009994"/>
                <a:ext cx="782305" cy="136263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sp>
          <p:nvSpPr>
            <p:cNvPr id="25" name="Rectangle 24">
              <a:hlinkClick r:id="rId2" action="ppaction://hlinksldjump"/>
            </p:cNvPr>
            <p:cNvSpPr/>
            <p:nvPr/>
          </p:nvSpPr>
          <p:spPr>
            <a:xfrm>
              <a:off x="646043" y="934910"/>
              <a:ext cx="3230218" cy="34723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NDR Portal</a:t>
              </a:r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969129" y="1225031"/>
              <a:ext cx="274947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IN" sz="1400" b="1" kern="0" dirty="0">
                  <a:solidFill>
                    <a:srgbClr val="002060"/>
                  </a:solidFill>
                  <a:latin typeface="Calibri" pitchFamily="34" charset="0"/>
                  <a:cs typeface="Calibri" pitchFamily="34" charset="0"/>
                  <a:hlinkClick r:id="rId3"/>
                </a:rPr>
                <a:t>https://www.ndrdgh.gov.in/NDR/</a:t>
              </a:r>
              <a:endParaRPr lang="en-IN" sz="1400" b="1" kern="0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49" name="Title 1">
            <a:extLst>
              <a:ext uri="{FF2B5EF4-FFF2-40B4-BE49-F238E27FC236}">
                <a16:creationId xmlns:a16="http://schemas.microsoft.com/office/drawing/2014/main" id="{C7D620D1-5AD5-4344-B058-5E6B72F5B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509" y="250588"/>
            <a:ext cx="11117068" cy="610919"/>
          </a:xfrm>
        </p:spPr>
        <p:txBody>
          <a:bodyPr>
            <a:noAutofit/>
          </a:bodyPr>
          <a:lstStyle/>
          <a:p>
            <a:pPr algn="ctr" defTabSz="914400"/>
            <a:r>
              <a:rPr lang="en-US" sz="2800" b="1" dirty="0">
                <a:solidFill>
                  <a:srgbClr val="000066"/>
                </a:solidFill>
                <a:latin typeface="Trebuchet MS"/>
                <a:ea typeface="+mn-ea"/>
                <a:cs typeface="+mn-cs"/>
              </a:rPr>
              <a:t>The Open Acreage Licensing Policy (OALP) </a:t>
            </a:r>
            <a:r>
              <a:rPr lang="en-US" sz="2800" b="1" dirty="0" err="1">
                <a:solidFill>
                  <a:srgbClr val="000066"/>
                </a:solidFill>
                <a:latin typeface="Trebuchet MS"/>
                <a:ea typeface="+mn-ea"/>
                <a:cs typeface="+mn-cs"/>
              </a:rPr>
              <a:t>EoI</a:t>
            </a:r>
            <a:r>
              <a:rPr lang="en-US" sz="2800" b="1" dirty="0">
                <a:solidFill>
                  <a:srgbClr val="000066"/>
                </a:solidFill>
                <a:latin typeface="Trebuchet MS"/>
                <a:ea typeface="+mn-ea"/>
                <a:cs typeface="+mn-cs"/>
              </a:rPr>
              <a:t> &amp; Bidding Process</a:t>
            </a:r>
            <a:endParaRPr lang="en-IN" sz="2800" b="1" dirty="0">
              <a:solidFill>
                <a:srgbClr val="000066"/>
              </a:solidFill>
              <a:latin typeface="Trebuchet MS"/>
              <a:ea typeface="+mn-ea"/>
              <a:cs typeface="+mn-cs"/>
            </a:endParaRPr>
          </a:p>
        </p:txBody>
      </p:sp>
      <p:grpSp>
        <p:nvGrpSpPr>
          <p:cNvPr id="57" name="Group 56"/>
          <p:cNvGrpSpPr/>
          <p:nvPr/>
        </p:nvGrpSpPr>
        <p:grpSpPr>
          <a:xfrm>
            <a:off x="3945836" y="1136931"/>
            <a:ext cx="3786807" cy="5127958"/>
            <a:chOff x="3945836" y="934910"/>
            <a:chExt cx="3786807" cy="5127958"/>
          </a:xfrm>
        </p:grpSpPr>
        <p:grpSp>
          <p:nvGrpSpPr>
            <p:cNvPr id="11" name="Group 10"/>
            <p:cNvGrpSpPr/>
            <p:nvPr/>
          </p:nvGrpSpPr>
          <p:grpSpPr>
            <a:xfrm>
              <a:off x="4502425" y="1691538"/>
              <a:ext cx="3230218" cy="4371330"/>
              <a:chOff x="894521" y="1123122"/>
              <a:chExt cx="3483752" cy="4472608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894521" y="1123122"/>
                <a:ext cx="3483752" cy="4472608"/>
              </a:xfrm>
              <a:prstGeom prst="rect">
                <a:avLst/>
              </a:prstGeom>
              <a:noFill/>
              <a:ln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55B216D2-EE23-476B-A4DD-00C47662567D}"/>
                  </a:ext>
                </a:extLst>
              </p:cNvPr>
              <p:cNvSpPr/>
              <p:nvPr/>
            </p:nvSpPr>
            <p:spPr>
              <a:xfrm>
                <a:off x="1443957" y="1406604"/>
                <a:ext cx="2588546" cy="68478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 cap="flat" cmpd="sng" algn="ctr">
                <a:solidFill>
                  <a:srgbClr val="00666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lvl="0" algn="ctr">
                  <a:defRPr/>
                </a:pPr>
                <a:r>
                  <a:rPr lang="en-US" sz="1600" b="1" kern="0" dirty="0">
                    <a:solidFill>
                      <a:srgbClr val="002060"/>
                    </a:solidFill>
                    <a:latin typeface="Calibri" pitchFamily="34" charset="0"/>
                    <a:cs typeface="Calibri" pitchFamily="34" charset="0"/>
                  </a:rPr>
                  <a:t>Unique Identification Numbers of the sectors (</a:t>
                </a:r>
                <a:r>
                  <a:rPr lang="en-US" sz="1400" b="1" i="1" kern="0" dirty="0">
                    <a:solidFill>
                      <a:srgbClr val="002060"/>
                    </a:solidFill>
                    <a:latin typeface="Calibri" pitchFamily="34" charset="0"/>
                    <a:cs typeface="Calibri" pitchFamily="34" charset="0"/>
                  </a:rPr>
                  <a:t>available in NDR portal</a:t>
                </a:r>
                <a:r>
                  <a:rPr lang="en-US" sz="1600" b="1" kern="0" dirty="0">
                    <a:solidFill>
                      <a:srgbClr val="002060"/>
                    </a:solidFill>
                    <a:latin typeface="Calibri" pitchFamily="34" charset="0"/>
                    <a:cs typeface="Calibri" pitchFamily="34" charset="0"/>
                  </a:rPr>
                  <a:t>)</a:t>
                </a: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F33283F9-76BA-4596-AC01-7B9BC280B011}"/>
                  </a:ext>
                </a:extLst>
              </p:cNvPr>
              <p:cNvSpPr/>
              <p:nvPr/>
            </p:nvSpPr>
            <p:spPr>
              <a:xfrm>
                <a:off x="1418702" y="2910947"/>
                <a:ext cx="2613801" cy="75739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 cap="flat" cmpd="sng" algn="ctr">
                <a:solidFill>
                  <a:srgbClr val="00666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lvl="0" algn="ctr">
                  <a:defRPr/>
                </a:pPr>
                <a:r>
                  <a:rPr lang="en-US" sz="1600" b="1" kern="0" dirty="0">
                    <a:solidFill>
                      <a:srgbClr val="002060"/>
                    </a:solidFill>
                    <a:latin typeface="Calibri" pitchFamily="34" charset="0"/>
                    <a:cs typeface="Calibri" pitchFamily="34" charset="0"/>
                  </a:rPr>
                  <a:t>Online Payment of Application fee </a:t>
                </a:r>
                <a:endParaRPr kumimoji="0" lang="en-I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F33283F9-76BA-4596-AC01-7B9BC280B011}"/>
                  </a:ext>
                </a:extLst>
              </p:cNvPr>
              <p:cNvSpPr/>
              <p:nvPr/>
            </p:nvSpPr>
            <p:spPr>
              <a:xfrm>
                <a:off x="1443957" y="4487908"/>
                <a:ext cx="2613801" cy="75739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 cap="flat" cmpd="sng" algn="ctr">
                <a:solidFill>
                  <a:srgbClr val="00666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lvl="0" algn="ctr">
                  <a:defRPr/>
                </a:pPr>
                <a:r>
                  <a:rPr lang="en-US" sz="1600" b="1" kern="0" dirty="0">
                    <a:solidFill>
                      <a:srgbClr val="002060"/>
                    </a:solidFill>
                    <a:latin typeface="Calibri" pitchFamily="34" charset="0"/>
                    <a:cs typeface="Calibri" pitchFamily="34" charset="0"/>
                  </a:rPr>
                  <a:t>Participation Bond &amp; Due-Diligence Report of </a:t>
                </a:r>
                <a:r>
                  <a:rPr lang="en-US" sz="1600" b="1" kern="0" dirty="0" err="1">
                    <a:solidFill>
                      <a:srgbClr val="002060"/>
                    </a:solidFill>
                    <a:latin typeface="Calibri" pitchFamily="34" charset="0"/>
                    <a:cs typeface="Calibri" pitchFamily="34" charset="0"/>
                  </a:rPr>
                  <a:t>Prospectivity</a:t>
                </a:r>
                <a:endParaRPr lang="en-US" sz="1600" b="1" kern="0" dirty="0">
                  <a:solidFill>
                    <a:srgbClr val="002060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6" name="Right Arrow 15"/>
              <p:cNvSpPr/>
              <p:nvPr/>
            </p:nvSpPr>
            <p:spPr>
              <a:xfrm rot="5400000">
                <a:off x="2278946" y="2433034"/>
                <a:ext cx="782305" cy="136263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17" name="Right Arrow 16"/>
              <p:cNvSpPr/>
              <p:nvPr/>
            </p:nvSpPr>
            <p:spPr>
              <a:xfrm rot="5400000">
                <a:off x="2278946" y="4009994"/>
                <a:ext cx="782305" cy="136263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47" name="Group 46"/>
            <p:cNvGrpSpPr/>
            <p:nvPr/>
          </p:nvGrpSpPr>
          <p:grpSpPr>
            <a:xfrm>
              <a:off x="3945836" y="934910"/>
              <a:ext cx="3786807" cy="347238"/>
              <a:chOff x="3945836" y="934910"/>
              <a:chExt cx="3786807" cy="347238"/>
            </a:xfrm>
          </p:grpSpPr>
          <p:sp>
            <p:nvSpPr>
              <p:cNvPr id="26" name="Rectangle 25">
                <a:hlinkClick r:id="rId4" action="ppaction://hlinksldjump"/>
              </p:cNvPr>
              <p:cNvSpPr/>
              <p:nvPr/>
            </p:nvSpPr>
            <p:spPr>
              <a:xfrm>
                <a:off x="4502425" y="934910"/>
                <a:ext cx="3230218" cy="34723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err="1">
                    <a:solidFill>
                      <a:schemeClr val="tx1"/>
                    </a:solidFill>
                  </a:rPr>
                  <a:t>EoI</a:t>
                </a:r>
                <a:r>
                  <a:rPr lang="en-US" dirty="0">
                    <a:solidFill>
                      <a:schemeClr val="tx1"/>
                    </a:solidFill>
                  </a:rPr>
                  <a:t> Portal</a:t>
                </a:r>
                <a:endParaRPr lang="en-IN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Right Arrow 44"/>
              <p:cNvSpPr/>
              <p:nvPr/>
            </p:nvSpPr>
            <p:spPr>
              <a:xfrm>
                <a:off x="3945836" y="1023731"/>
                <a:ext cx="496955" cy="201300"/>
              </a:xfrm>
              <a:prstGeom prst="rightArrow">
                <a:avLst/>
              </a:prstGeom>
              <a:solidFill>
                <a:schemeClr val="tx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sp>
          <p:nvSpPr>
            <p:cNvPr id="54" name="Rectangle 53"/>
            <p:cNvSpPr/>
            <p:nvPr/>
          </p:nvSpPr>
          <p:spPr>
            <a:xfrm>
              <a:off x="4770140" y="1225031"/>
              <a:ext cx="258115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en-IN" sz="1400" b="1" kern="0" dirty="0">
                  <a:solidFill>
                    <a:srgbClr val="002060"/>
                  </a:solidFill>
                  <a:latin typeface="Calibri" pitchFamily="34" charset="0"/>
                  <a:cs typeface="Calibri" pitchFamily="34" charset="0"/>
                  <a:hlinkClick r:id="rId5"/>
                </a:rPr>
                <a:t>https://online.dghindia.org/oal</a:t>
              </a:r>
              <a:r>
                <a:rPr lang="en-IN" sz="1400" b="1" kern="0" dirty="0">
                  <a:solidFill>
                    <a:srgbClr val="002060"/>
                  </a:solidFill>
                  <a:latin typeface="Calibri" pitchFamily="34" charset="0"/>
                  <a:cs typeface="Calibri" pitchFamily="34" charset="0"/>
                </a:rPr>
                <a:t> </a:t>
              </a: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7797247" y="1136931"/>
            <a:ext cx="3791779" cy="5127958"/>
            <a:chOff x="7797247" y="934910"/>
            <a:chExt cx="3791779" cy="5127958"/>
          </a:xfrm>
        </p:grpSpPr>
        <p:grpSp>
          <p:nvGrpSpPr>
            <p:cNvPr id="18" name="Group 17"/>
            <p:cNvGrpSpPr/>
            <p:nvPr/>
          </p:nvGrpSpPr>
          <p:grpSpPr>
            <a:xfrm>
              <a:off x="8358808" y="1691538"/>
              <a:ext cx="3230218" cy="4371330"/>
              <a:chOff x="894521" y="1123122"/>
              <a:chExt cx="3483752" cy="4472608"/>
            </a:xfrm>
          </p:grpSpPr>
          <p:sp>
            <p:nvSpPr>
              <p:cNvPr id="19" name="Rectangle 18"/>
              <p:cNvSpPr/>
              <p:nvPr/>
            </p:nvSpPr>
            <p:spPr>
              <a:xfrm>
                <a:off x="894521" y="1123122"/>
                <a:ext cx="3483752" cy="4472608"/>
              </a:xfrm>
              <a:prstGeom prst="rect">
                <a:avLst/>
              </a:prstGeom>
              <a:noFill/>
              <a:ln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5B216D2-EE23-476B-A4DD-00C47662567D}"/>
                  </a:ext>
                </a:extLst>
              </p:cNvPr>
              <p:cNvSpPr/>
              <p:nvPr/>
            </p:nvSpPr>
            <p:spPr>
              <a:xfrm>
                <a:off x="1443957" y="1406604"/>
                <a:ext cx="2588546" cy="68478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 cap="flat" cmpd="sng" algn="ctr">
                <a:solidFill>
                  <a:srgbClr val="00666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lvl="0" algn="ctr">
                  <a:defRPr/>
                </a:pPr>
                <a:r>
                  <a:rPr kumimoji="0" lang="en-IN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Invitation of bids through NIO</a:t>
                </a:r>
                <a:endParaRPr kumimoji="0" lang="en-IN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33283F9-76BA-4596-AC01-7B9BC280B011}"/>
                  </a:ext>
                </a:extLst>
              </p:cNvPr>
              <p:cNvSpPr/>
              <p:nvPr/>
            </p:nvSpPr>
            <p:spPr>
              <a:xfrm>
                <a:off x="1418702" y="2910947"/>
                <a:ext cx="2613801" cy="75739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 cap="flat" cmpd="sng" algn="ctr">
                <a:solidFill>
                  <a:srgbClr val="00666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lvl="0" algn="ctr">
                  <a:defRPr/>
                </a:pPr>
                <a:r>
                  <a:rPr lang="en-US" sz="1600" b="1" kern="0" dirty="0">
                    <a:solidFill>
                      <a:srgbClr val="002060"/>
                    </a:solidFill>
                    <a:latin typeface="Calibri" pitchFamily="34" charset="0"/>
                    <a:cs typeface="Calibri" pitchFamily="34" charset="0"/>
                  </a:rPr>
                  <a:t>Bidders Should have digital signature Certificate 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F33283F9-76BA-4596-AC01-7B9BC280B011}"/>
                  </a:ext>
                </a:extLst>
              </p:cNvPr>
              <p:cNvSpPr/>
              <p:nvPr/>
            </p:nvSpPr>
            <p:spPr>
              <a:xfrm>
                <a:off x="1443957" y="4487908"/>
                <a:ext cx="2613801" cy="75739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 cap="flat" cmpd="sng" algn="ctr">
                <a:solidFill>
                  <a:srgbClr val="00666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lvl="0" algn="ctr">
                  <a:defRPr/>
                </a:pPr>
                <a:r>
                  <a:rPr lang="en-IN" sz="1600" b="1" kern="0" dirty="0">
                    <a:solidFill>
                      <a:srgbClr val="002060"/>
                    </a:solidFill>
                    <a:latin typeface="Calibri" pitchFamily="34" charset="0"/>
                    <a:cs typeface="Calibri" pitchFamily="34" charset="0"/>
                  </a:rPr>
                  <a:t>Bid Submission and Evaluation</a:t>
                </a:r>
              </a:p>
            </p:txBody>
          </p:sp>
          <p:sp>
            <p:nvSpPr>
              <p:cNvPr id="23" name="Right Arrow 22"/>
              <p:cNvSpPr/>
              <p:nvPr/>
            </p:nvSpPr>
            <p:spPr>
              <a:xfrm rot="5400000">
                <a:off x="2278946" y="2433034"/>
                <a:ext cx="782305" cy="136263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4" name="Right Arrow 23"/>
              <p:cNvSpPr/>
              <p:nvPr/>
            </p:nvSpPr>
            <p:spPr>
              <a:xfrm rot="5400000">
                <a:off x="2278946" y="4009994"/>
                <a:ext cx="782305" cy="136263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48" name="Group 47"/>
            <p:cNvGrpSpPr/>
            <p:nvPr/>
          </p:nvGrpSpPr>
          <p:grpSpPr>
            <a:xfrm>
              <a:off x="7797247" y="934910"/>
              <a:ext cx="3791778" cy="347238"/>
              <a:chOff x="7797247" y="934910"/>
              <a:chExt cx="3791778" cy="347238"/>
            </a:xfrm>
          </p:grpSpPr>
          <p:sp>
            <p:nvSpPr>
              <p:cNvPr id="27" name="Rectangle 26">
                <a:hlinkClick r:id="rId6" action="ppaction://hlinksldjump"/>
              </p:cNvPr>
              <p:cNvSpPr/>
              <p:nvPr/>
            </p:nvSpPr>
            <p:spPr>
              <a:xfrm>
                <a:off x="8358807" y="934910"/>
                <a:ext cx="3230218" cy="347238"/>
              </a:xfrm>
              <a:prstGeom prst="rect">
                <a:avLst/>
              </a:prstGeom>
              <a:solidFill>
                <a:srgbClr val="86C8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chemeClr val="tx1"/>
                    </a:solidFill>
                  </a:rPr>
                  <a:t>E-Bidding Portal</a:t>
                </a:r>
                <a:endParaRPr lang="en-IN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Right Arrow 45"/>
              <p:cNvSpPr/>
              <p:nvPr/>
            </p:nvSpPr>
            <p:spPr>
              <a:xfrm>
                <a:off x="7797247" y="1023731"/>
                <a:ext cx="496955" cy="201300"/>
              </a:xfrm>
              <a:prstGeom prst="rightArrow">
                <a:avLst/>
              </a:prstGeom>
              <a:solidFill>
                <a:schemeClr val="tx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sp>
          <p:nvSpPr>
            <p:cNvPr id="55" name="Rectangle 54"/>
            <p:cNvSpPr/>
            <p:nvPr/>
          </p:nvSpPr>
          <p:spPr>
            <a:xfrm>
              <a:off x="8540801" y="1224729"/>
              <a:ext cx="292873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en-IN" sz="1400" b="1" kern="0" dirty="0">
                  <a:solidFill>
                    <a:srgbClr val="002060"/>
                  </a:solidFill>
                  <a:latin typeface="Calibri" pitchFamily="34" charset="0"/>
                  <a:cs typeface="Calibri" pitchFamily="34" charset="0"/>
                  <a:hlinkClick r:id="rId7"/>
                </a:rPr>
                <a:t>https://ebidding.dghindia.gov.in/</a:t>
              </a:r>
              <a:r>
                <a:rPr lang="en-IN" sz="1400" b="1" kern="0" dirty="0">
                  <a:solidFill>
                    <a:srgbClr val="002060"/>
                  </a:solidFill>
                  <a:latin typeface="Calibri" pitchFamily="34" charset="0"/>
                  <a:cs typeface="Calibri" pitchFamily="34" charset="0"/>
                </a:rPr>
                <a:t> </a:t>
              </a:r>
            </a:p>
          </p:txBody>
        </p:sp>
      </p:grp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82113E65-E284-49F4-ABED-A13513ED4DF8}"/>
              </a:ext>
            </a:extLst>
          </p:cNvPr>
          <p:cNvCxnSpPr/>
          <p:nvPr/>
        </p:nvCxnSpPr>
        <p:spPr>
          <a:xfrm>
            <a:off x="23138" y="904781"/>
            <a:ext cx="12124944" cy="0"/>
          </a:xfrm>
          <a:prstGeom prst="line">
            <a:avLst/>
          </a:prstGeom>
          <a:ln w="101600" cap="rnd" cmpd="thinThick">
            <a:solidFill>
              <a:schemeClr val="tx2">
                <a:lumMod val="5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63453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D968ACC-4759-4B72-A89C-D99031EB9CC7}"/>
              </a:ext>
            </a:extLst>
          </p:cNvPr>
          <p:cNvSpPr txBox="1"/>
          <p:nvPr/>
        </p:nvSpPr>
        <p:spPr>
          <a:xfrm>
            <a:off x="2121272" y="2406400"/>
            <a:ext cx="7949455" cy="2891867"/>
          </a:xfrm>
          <a:prstGeom prst="rect">
            <a:avLst/>
          </a:prstGeom>
          <a:noFill/>
          <a:effectLst/>
        </p:spPr>
        <p:txBody>
          <a:bodyPr wrap="square" lIns="54610" tIns="54610" rIns="54610" bIns="5461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Opportunities</a:t>
            </a:r>
          </a:p>
        </p:txBody>
      </p:sp>
    </p:spTree>
    <p:extLst>
      <p:ext uri="{BB962C8B-B14F-4D97-AF65-F5344CB8AC3E}">
        <p14:creationId xmlns:p14="http://schemas.microsoft.com/office/powerpoint/2010/main" val="39397774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C7D620D1-5AD5-4344-B058-5E6B72F5B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084" y="156114"/>
            <a:ext cx="10165422" cy="610919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000066"/>
                </a:solidFill>
                <a:latin typeface="Trebuchet MS"/>
                <a:ea typeface="+mn-ea"/>
                <a:cs typeface="+mn-cs"/>
              </a:rPr>
              <a:t>OALP Bid Round -IX</a:t>
            </a:r>
            <a:endParaRPr lang="en-IN" sz="2800" b="1" dirty="0">
              <a:solidFill>
                <a:srgbClr val="000066"/>
              </a:solidFill>
              <a:latin typeface="Trebuchet MS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24BF1EA-E614-F55D-707B-11EB780BC263}"/>
              </a:ext>
            </a:extLst>
          </p:cNvPr>
          <p:cNvSpPr txBox="1"/>
          <p:nvPr/>
        </p:nvSpPr>
        <p:spPr>
          <a:xfrm>
            <a:off x="514084" y="1409412"/>
            <a:ext cx="11251916" cy="4688335"/>
          </a:xfrm>
          <a:prstGeom prst="rect">
            <a:avLst/>
          </a:prstGeom>
          <a:solidFill>
            <a:srgbClr val="000066"/>
          </a:solidFill>
          <a:ln>
            <a:solidFill>
              <a:srgbClr val="0070C0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F6E1A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1144588" marR="0" lvl="2" indent="-400050" algn="l" defTabSz="4572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Pct val="60000"/>
              <a:buFont typeface="Wingdings" panose="05000000000000000000" pitchFamily="2" charset="2"/>
              <a:buChar char="Ø"/>
              <a:tabLst/>
              <a:defRPr/>
            </a:pPr>
            <a:r>
              <a:rPr lang="en-IN" sz="28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ll date </a:t>
            </a: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8 Blocks </a:t>
            </a:r>
            <a:r>
              <a: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compassing 41,860 sq. km. finalized</a:t>
            </a:r>
          </a:p>
          <a:p>
            <a:pPr marL="1144588" marR="0" lvl="2" indent="-400050" algn="l" defTabSz="4572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Pct val="6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ditional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oI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received covering  ~ 95,000 sq.km. area under block finalization.</a:t>
            </a:r>
          </a:p>
          <a:p>
            <a:pPr marL="1144588" marR="0" lvl="2" indent="-400050" algn="l" defTabSz="457200" rtl="0" eaLnBrk="1" fontAlgn="auto" latinLnBrk="0" hangingPunct="1">
              <a:lnSpc>
                <a:spcPct val="150000"/>
              </a:lnSpc>
              <a:spcBef>
                <a:spcPts val="1800"/>
              </a:spcBef>
              <a:spcAft>
                <a:spcPts val="1800"/>
              </a:spcAft>
              <a:buClrTx/>
              <a:buSzPct val="60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IO for bid round IX to be floated shortly for International Competitive Bidding in the month of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ugust’2023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C2859DE-E25E-45F7-A90D-4C40EA1BCC10}"/>
              </a:ext>
            </a:extLst>
          </p:cNvPr>
          <p:cNvSpPr txBox="1">
            <a:spLocks/>
          </p:cNvSpPr>
          <p:nvPr/>
        </p:nvSpPr>
        <p:spPr>
          <a:xfrm>
            <a:off x="392668" y="638760"/>
            <a:ext cx="11251916" cy="631825"/>
          </a:xfrm>
          <a:prstGeom prst="rect">
            <a:avLst/>
          </a:prstGeom>
        </p:spPr>
        <p:txBody>
          <a:bodyPr vert="horz" lIns="0" tIns="0" rIns="0" bIns="0" rtlCol="0" anchor="ctr" anchorCtr="0">
            <a:normAutofit fontScale="85000" lnSpcReduction="10000"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fontAlgn="auto"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2800" dirty="0">
                <a:solidFill>
                  <a:srgbClr val="000066"/>
                </a:solidFill>
                <a:latin typeface="Trebuchet MS"/>
              </a:rPr>
              <a:t>8 Blocks | Addl. 20 Expression of Interest received | ~ 1,35,000 + SQ KM Area</a:t>
            </a:r>
            <a:endParaRPr lang="en-IN" sz="2800" dirty="0">
              <a:solidFill>
                <a:srgbClr val="000066"/>
              </a:solidFill>
              <a:latin typeface="Trebuchet M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8A7D71E-8258-4DBE-ACBD-DEA503BC60FB}"/>
              </a:ext>
            </a:extLst>
          </p:cNvPr>
          <p:cNvCxnSpPr/>
          <p:nvPr/>
        </p:nvCxnSpPr>
        <p:spPr>
          <a:xfrm>
            <a:off x="33528" y="1142312"/>
            <a:ext cx="12124944" cy="0"/>
          </a:xfrm>
          <a:prstGeom prst="line">
            <a:avLst/>
          </a:prstGeom>
          <a:ln w="101600" cap="rnd" cmpd="thinThick">
            <a:solidFill>
              <a:schemeClr val="tx2">
                <a:lumMod val="5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87908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C7D620D1-5AD5-4344-B058-5E6B72F5B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656" y="153323"/>
            <a:ext cx="10165422" cy="610919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000066"/>
                </a:solidFill>
                <a:latin typeface="Trebuchet MS"/>
                <a:ea typeface="+mn-ea"/>
                <a:cs typeface="+mn-cs"/>
              </a:rPr>
              <a:t>Bid</a:t>
            </a:r>
            <a:r>
              <a:rPr lang="en-US" sz="28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>
                <a:solidFill>
                  <a:srgbClr val="000066"/>
                </a:solidFill>
                <a:latin typeface="Trebuchet MS"/>
                <a:ea typeface="+mn-ea"/>
                <a:cs typeface="+mn-cs"/>
              </a:rPr>
              <a:t>Round -IX   </a:t>
            </a:r>
            <a:endParaRPr lang="en-IN" sz="2800" b="1" dirty="0">
              <a:solidFill>
                <a:srgbClr val="000066"/>
              </a:solidFill>
              <a:latin typeface="Trebuchet MS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453319D-9572-A807-655E-87FA0CCB78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656" y="872436"/>
            <a:ext cx="5304285" cy="5832000"/>
          </a:xfrm>
          <a:prstGeom prst="rect">
            <a:avLst/>
          </a:prstGeom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957A675-507E-57C1-2510-8354239ACE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2056473"/>
              </p:ext>
            </p:extLst>
          </p:nvPr>
        </p:nvGraphicFramePr>
        <p:xfrm>
          <a:off x="5874457" y="1480225"/>
          <a:ext cx="5799138" cy="3036681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609600">
                  <a:extLst>
                    <a:ext uri="{9D8B030D-6E8A-4147-A177-3AD203B41FA5}">
                      <a16:colId xmlns:a16="http://schemas.microsoft.com/office/drawing/2014/main" val="889707789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570593730"/>
                    </a:ext>
                  </a:extLst>
                </a:gridCol>
                <a:gridCol w="945701">
                  <a:extLst>
                    <a:ext uri="{9D8B030D-6E8A-4147-A177-3AD203B41FA5}">
                      <a16:colId xmlns:a16="http://schemas.microsoft.com/office/drawing/2014/main" val="3430444289"/>
                    </a:ext>
                  </a:extLst>
                </a:gridCol>
                <a:gridCol w="1500637">
                  <a:extLst>
                    <a:ext uri="{9D8B030D-6E8A-4147-A177-3AD203B41FA5}">
                      <a16:colId xmlns:a16="http://schemas.microsoft.com/office/drawing/2014/main" val="1945962155"/>
                    </a:ext>
                  </a:extLst>
                </a:gridCol>
                <a:gridCol w="723900">
                  <a:extLst>
                    <a:ext uri="{9D8B030D-6E8A-4147-A177-3AD203B41FA5}">
                      <a16:colId xmlns:a16="http://schemas.microsoft.com/office/drawing/2014/main" val="3603634691"/>
                    </a:ext>
                  </a:extLst>
                </a:gridCol>
                <a:gridCol w="1054100">
                  <a:extLst>
                    <a:ext uri="{9D8B030D-6E8A-4147-A177-3AD203B41FA5}">
                      <a16:colId xmlns:a16="http://schemas.microsoft.com/office/drawing/2014/main" val="471692310"/>
                    </a:ext>
                  </a:extLst>
                </a:gridCol>
              </a:tblGrid>
              <a:tr h="30071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effectLst/>
                        </a:rPr>
                        <a:t>S.N.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effectLst/>
                        </a:rPr>
                        <a:t>Basin Category 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effectLst/>
                        </a:rPr>
                        <a:t>Basin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effectLst/>
                        </a:rPr>
                        <a:t>Name of Block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>
                          <a:effectLst/>
                        </a:rPr>
                        <a:t>Area (SKM)</a:t>
                      </a:r>
                      <a:endParaRPr lang="en-IN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effectLst/>
                        </a:rPr>
                        <a:t>Type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46821530"/>
                  </a:ext>
                </a:extLst>
              </a:tr>
              <a:tr h="28914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u="none" strike="noStrike" dirty="0">
                          <a:effectLst/>
                        </a:rPr>
                        <a:t>1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IN" sz="1400" u="none" strike="noStrike" dirty="0">
                          <a:effectLst/>
                        </a:rPr>
                        <a:t>I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u="none" strike="noStrike" dirty="0">
                          <a:effectLst/>
                        </a:rPr>
                        <a:t>Cambay 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 dirty="0">
                          <a:effectLst/>
                        </a:rPr>
                        <a:t>CB-ONHP-2022/2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u="none" strike="noStrike" dirty="0">
                          <a:effectLst/>
                        </a:rPr>
                        <a:t>713.92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400" u="none" strike="noStrike" dirty="0" err="1">
                          <a:effectLst/>
                        </a:rPr>
                        <a:t>Onland</a:t>
                      </a:r>
                      <a:r>
                        <a:rPr lang="en-IN" sz="1400" u="none" strike="noStrike" dirty="0">
                          <a:effectLst/>
                        </a:rPr>
                        <a:t>                     (3,666 SKM)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54521815"/>
                  </a:ext>
                </a:extLst>
              </a:tr>
              <a:tr h="28914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u="none" strike="noStrike" dirty="0">
                          <a:effectLst/>
                        </a:rPr>
                        <a:t>2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u="none" strike="noStrike" dirty="0">
                          <a:effectLst/>
                        </a:rPr>
                        <a:t>Assam Shelf 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AS-ONHP 2022/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u="none" strike="noStrike">
                          <a:effectLst/>
                        </a:rPr>
                        <a:t>784.3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716138"/>
                  </a:ext>
                </a:extLst>
              </a:tr>
              <a:tr h="28914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u="none" strike="noStrike">
                          <a:effectLst/>
                        </a:rPr>
                        <a:t>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u="none" strike="noStrike" dirty="0">
                          <a:effectLst/>
                        </a:rPr>
                        <a:t>Assam Shelf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 dirty="0">
                          <a:effectLst/>
                        </a:rPr>
                        <a:t>AS-ONHP 2022/3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u="none" strike="noStrike">
                          <a:effectLst/>
                        </a:rPr>
                        <a:t>2,168.09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5775106"/>
                  </a:ext>
                </a:extLst>
              </a:tr>
              <a:tr h="28914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u="none" strike="noStrike">
                          <a:effectLst/>
                        </a:rPr>
                        <a:t>4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u="none" strike="noStrike" dirty="0">
                          <a:effectLst/>
                        </a:rPr>
                        <a:t>Cauvery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 dirty="0">
                          <a:effectLst/>
                        </a:rPr>
                        <a:t>CY-UDWHP-2022/1 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u="none" strike="noStrike">
                          <a:effectLst/>
                        </a:rPr>
                        <a:t>9,514.63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IN" sz="1400" u="none" strike="noStrike">
                          <a:effectLst/>
                        </a:rPr>
                        <a:t>Ultra-Deep water (27,154 SKM)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86707957"/>
                  </a:ext>
                </a:extLst>
              </a:tr>
              <a:tr h="28914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u="none" strike="noStrike">
                          <a:effectLst/>
                        </a:rPr>
                        <a:t>5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u="none" strike="noStrike" dirty="0">
                          <a:effectLst/>
                        </a:rPr>
                        <a:t>Cauvery 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 dirty="0">
                          <a:effectLst/>
                        </a:rPr>
                        <a:t>CY-UDWHP-2022/2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u="none" strike="noStrike">
                          <a:effectLst/>
                        </a:rPr>
                        <a:t>9,844.7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7859685"/>
                  </a:ext>
                </a:extLst>
              </a:tr>
              <a:tr h="28914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u="none" strike="noStrike">
                          <a:effectLst/>
                        </a:rPr>
                        <a:t>6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u="none" strike="noStrike" dirty="0">
                          <a:effectLst/>
                        </a:rPr>
                        <a:t>Cauvery 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 dirty="0">
                          <a:effectLst/>
                        </a:rPr>
                        <a:t>CY-UDWHP-2022/3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u="none" strike="noStrike" dirty="0">
                          <a:effectLst/>
                        </a:rPr>
                        <a:t>7,795.45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1806758"/>
                  </a:ext>
                </a:extLst>
              </a:tr>
              <a:tr h="28914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u="none" strike="noStrike">
                          <a:effectLst/>
                        </a:rPr>
                        <a:t>7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400" u="none" strike="noStrike" dirty="0">
                          <a:effectLst/>
                        </a:rPr>
                        <a:t>II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u="none" strike="noStrike" dirty="0">
                          <a:effectLst/>
                        </a:rPr>
                        <a:t>Saurashtra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 dirty="0">
                          <a:effectLst/>
                        </a:rPr>
                        <a:t>GS-OSHP-2022/1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u="none" strike="noStrike" dirty="0">
                          <a:effectLst/>
                        </a:rPr>
                        <a:t>5,585.61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N" sz="1400" u="none" strike="noStrike" dirty="0">
                          <a:effectLst/>
                        </a:rPr>
                        <a:t>Deep Water (11,039 SKM)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40707016"/>
                  </a:ext>
                </a:extLst>
              </a:tr>
              <a:tr h="28914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u="none" strike="noStrike">
                          <a:effectLst/>
                        </a:rPr>
                        <a:t>8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400" u="none" strike="noStrike" dirty="0">
                          <a:effectLst/>
                        </a:rPr>
                        <a:t>Saurashtra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u="none" strike="noStrike">
                          <a:effectLst/>
                        </a:rPr>
                        <a:t>GS-OSHP-2022/2</a:t>
                      </a:r>
                      <a:endParaRPr lang="en-IN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400" u="none" strike="noStrike" dirty="0">
                          <a:effectLst/>
                        </a:rPr>
                        <a:t>5,453.96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0050977"/>
                  </a:ext>
                </a:extLst>
              </a:tr>
              <a:tr h="289149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IN" sz="1600" b="1" u="none" strike="noStrike" dirty="0">
                          <a:effectLst/>
                        </a:rPr>
                        <a:t>                                                      Total Area    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IN" sz="1600" b="1" u="none" strike="noStrike" dirty="0">
                          <a:effectLst/>
                        </a:rPr>
                        <a:t>41,860.7</a:t>
                      </a:r>
                      <a:endParaRPr lang="en-IN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508222090"/>
                  </a:ext>
                </a:extLst>
              </a:tr>
            </a:tbl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D33799BA-E6ED-BAB7-8258-486D0709F9E0}"/>
              </a:ext>
            </a:extLst>
          </p:cNvPr>
          <p:cNvSpPr txBox="1"/>
          <p:nvPr/>
        </p:nvSpPr>
        <p:spPr>
          <a:xfrm>
            <a:off x="5840683" y="5138279"/>
            <a:ext cx="5803901" cy="9233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85725" marR="0" lvl="2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6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ditional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oI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ceived covering ~95,000 sq.km. in East Coast Basins like Krishna-Godavari &amp; Mahanadi and West Coast Basins like Saurashtra, Kutch, Mumbai etc.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4437B22-F95A-4F35-A686-F31669960166}"/>
              </a:ext>
            </a:extLst>
          </p:cNvPr>
          <p:cNvSpPr txBox="1"/>
          <p:nvPr/>
        </p:nvSpPr>
        <p:spPr>
          <a:xfrm>
            <a:off x="5859579" y="919681"/>
            <a:ext cx="5102352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13500000" scaled="1"/>
            <a:tileRect/>
          </a:gradFill>
          <a:ln w="10795" cap="flat" cmpd="sng" algn="ctr">
            <a:noFill/>
            <a:prstDash val="solid"/>
          </a:ln>
          <a:effectLst/>
        </p:spPr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871057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86" b="1" i="0" u="none" strike="noStrike" kern="0" cap="none" spc="0" normalizeH="0" baseline="0" noProof="0" dirty="0">
                <a:ln>
                  <a:noFill/>
                </a:ln>
                <a:solidFill>
                  <a:srgbClr val="FFD7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ist of Finalized 8 Blocks</a:t>
            </a:r>
            <a:endParaRPr kumimoji="0" lang="it-IT" sz="229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09AD54-26DA-49FA-A571-4A1268731419}"/>
              </a:ext>
            </a:extLst>
          </p:cNvPr>
          <p:cNvSpPr txBox="1"/>
          <p:nvPr/>
        </p:nvSpPr>
        <p:spPr>
          <a:xfrm>
            <a:off x="5859579" y="4601962"/>
            <a:ext cx="5102352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264796"/>
              </a:gs>
              <a:gs pos="100000">
                <a:srgbClr val="203864"/>
              </a:gs>
            </a:gsLst>
            <a:lin ang="13500000" scaled="1"/>
            <a:tileRect/>
          </a:gradFill>
          <a:ln w="10795" cap="flat" cmpd="sng" algn="ctr">
            <a:noFill/>
            <a:prstDash val="solid"/>
          </a:ln>
          <a:effectLst/>
        </p:spPr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871057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286" b="1" i="0" u="none" strike="noStrike" kern="0" cap="none" spc="0" normalizeH="0" baseline="0" noProof="0" dirty="0">
                <a:ln>
                  <a:noFill/>
                </a:ln>
                <a:solidFill>
                  <a:srgbClr val="FFD7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locks </a:t>
            </a:r>
            <a:r>
              <a:rPr lang="en-IN" sz="2286" b="1" dirty="0">
                <a:solidFill>
                  <a:srgbClr val="FFD700"/>
                </a:solidFill>
                <a:latin typeface="Trebuchet MS"/>
              </a:rPr>
              <a:t>under Finalization</a:t>
            </a:r>
            <a:endParaRPr lang="it-IT" sz="2286" b="1" dirty="0">
              <a:solidFill>
                <a:srgbClr val="FFD700"/>
              </a:solidFill>
              <a:latin typeface="Trebuchet M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DD1BB26-811B-46DF-A6F6-5BC911951FC1}"/>
              </a:ext>
            </a:extLst>
          </p:cNvPr>
          <p:cNvCxnSpPr/>
          <p:nvPr/>
        </p:nvCxnSpPr>
        <p:spPr>
          <a:xfrm>
            <a:off x="33528" y="764242"/>
            <a:ext cx="12124944" cy="0"/>
          </a:xfrm>
          <a:prstGeom prst="line">
            <a:avLst/>
          </a:prstGeom>
          <a:noFill/>
          <a:ln w="101600" cap="rnd" cmpd="thinThick" algn="ctr">
            <a:solidFill>
              <a:srgbClr val="264796">
                <a:lumMod val="50000"/>
              </a:srgbClr>
            </a:solidFill>
            <a:prstDash val="solid"/>
            <a:round/>
          </a:ln>
          <a:effectLst/>
        </p:spPr>
      </p:cxnSp>
    </p:spTree>
    <p:extLst>
      <p:ext uri="{BB962C8B-B14F-4D97-AF65-F5344CB8AC3E}">
        <p14:creationId xmlns:p14="http://schemas.microsoft.com/office/powerpoint/2010/main" val="12017249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D968ACC-4759-4B72-A89C-D99031EB9CC7}"/>
              </a:ext>
            </a:extLst>
          </p:cNvPr>
          <p:cNvSpPr txBox="1"/>
          <p:nvPr/>
        </p:nvSpPr>
        <p:spPr>
          <a:xfrm>
            <a:off x="2110232" y="1983066"/>
            <a:ext cx="7949455" cy="2891867"/>
          </a:xfrm>
          <a:prstGeom prst="rect">
            <a:avLst/>
          </a:prstGeom>
          <a:noFill/>
          <a:effectLst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4800" b="1" dirty="0">
                <a:solidFill>
                  <a:schemeClr val="bg1"/>
                </a:solidFill>
              </a:rPr>
              <a:t>Blocks</a:t>
            </a:r>
          </a:p>
          <a:p>
            <a:pPr algn="ctr">
              <a:spcAft>
                <a:spcPts val="600"/>
              </a:spcAft>
            </a:pPr>
            <a:r>
              <a:rPr lang="en-US" sz="4800" b="1" dirty="0">
                <a:solidFill>
                  <a:schemeClr val="bg1"/>
                </a:solidFill>
              </a:rPr>
              <a:t> in </a:t>
            </a:r>
          </a:p>
          <a:p>
            <a:pPr algn="ctr">
              <a:spcAft>
                <a:spcPts val="600"/>
              </a:spcAft>
            </a:pPr>
            <a:r>
              <a:rPr lang="en-US" sz="4800" b="1" dirty="0">
                <a:solidFill>
                  <a:schemeClr val="bg1"/>
                </a:solidFill>
              </a:rPr>
              <a:t>Category – I Basins</a:t>
            </a:r>
          </a:p>
        </p:txBody>
      </p:sp>
    </p:spTree>
    <p:extLst>
      <p:ext uri="{BB962C8B-B14F-4D97-AF65-F5344CB8AC3E}">
        <p14:creationId xmlns:p14="http://schemas.microsoft.com/office/powerpoint/2010/main" val="18700759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EFB967-B05F-44F5-A9D5-4058FBF90A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90518" y="164078"/>
          <a:ext cx="1513" cy="1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EFB967-B05F-44F5-A9D5-4058FBF90A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90518" y="164078"/>
                        <a:ext cx="1513" cy="15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TextBox 77">
            <a:extLst>
              <a:ext uri="{FF2B5EF4-FFF2-40B4-BE49-F238E27FC236}">
                <a16:creationId xmlns:a16="http://schemas.microsoft.com/office/drawing/2014/main" id="{0521B285-F4E0-4F14-AC97-FEB94C8A4DB1}"/>
              </a:ext>
            </a:extLst>
          </p:cNvPr>
          <p:cNvSpPr txBox="1"/>
          <p:nvPr/>
        </p:nvSpPr>
        <p:spPr>
          <a:xfrm>
            <a:off x="799761" y="694521"/>
            <a:ext cx="5102352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it-IT" sz="2286" b="1" dirty="0">
                <a:solidFill>
                  <a:srgbClr val="FFD700"/>
                </a:solidFill>
                <a:latin typeface="Trebuchet MS"/>
              </a:rPr>
              <a:t>Block Name: </a:t>
            </a:r>
            <a:r>
              <a:rPr lang="en-IN" sz="2290" b="1" dirty="0">
                <a:solidFill>
                  <a:prstClr val="white"/>
                </a:solidFill>
                <a:latin typeface="Trebuchet MS"/>
              </a:rPr>
              <a:t>CB-ONHP-2022/2</a:t>
            </a:r>
            <a:endParaRPr lang="it-IT" sz="2290" b="1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13D9414-D689-4C43-AC91-2B721D7F737E}"/>
              </a:ext>
            </a:extLst>
          </p:cNvPr>
          <p:cNvSpPr txBox="1">
            <a:spLocks/>
          </p:cNvSpPr>
          <p:nvPr/>
        </p:nvSpPr>
        <p:spPr>
          <a:xfrm>
            <a:off x="6276639" y="693657"/>
            <a:ext cx="5103798" cy="4754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05" tIns="87105" rIns="87105" bIns="87105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71057">
              <a:defRPr/>
            </a:pPr>
            <a:r>
              <a:rPr lang="en-IN" sz="2286" b="1" dirty="0">
                <a:solidFill>
                  <a:srgbClr val="FFD700"/>
                </a:solidFill>
                <a:latin typeface="Trebuchet MS"/>
              </a:rPr>
              <a:t>Block Area: </a:t>
            </a:r>
            <a:r>
              <a:rPr lang="en-IN" sz="2290" b="1" dirty="0">
                <a:solidFill>
                  <a:prstClr val="white"/>
                </a:solidFill>
                <a:latin typeface="Trebuchet MS"/>
              </a:rPr>
              <a:t>714 SQ K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CF3576A-9C7B-4D4D-A210-9F8DAFA543E9}"/>
              </a:ext>
            </a:extLst>
          </p:cNvPr>
          <p:cNvSpPr txBox="1"/>
          <p:nvPr/>
        </p:nvSpPr>
        <p:spPr>
          <a:xfrm>
            <a:off x="6037931" y="4375696"/>
            <a:ext cx="5806994" cy="228935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</p:spPr>
        <p:txBody>
          <a:bodyPr wrap="square" lIns="0" tIns="91440" rIns="91440" bIns="91440">
            <a:noAutofit/>
          </a:bodyPr>
          <a:lstStyle/>
          <a:p>
            <a:pPr marL="102881" lvl="1" algn="ctr" defTabSz="871057">
              <a:spcBef>
                <a:spcPts val="286"/>
              </a:spcBef>
              <a:spcAft>
                <a:spcPts val="572"/>
              </a:spcAft>
              <a:buClr>
                <a:srgbClr val="264796"/>
              </a:buClr>
              <a:defRPr/>
            </a:pPr>
            <a:r>
              <a:rPr lang="en-US" sz="1334" b="1" dirty="0">
                <a:solidFill>
                  <a:srgbClr val="2647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1715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troleum System:</a:t>
            </a:r>
            <a:endParaRPr lang="en-IN" sz="152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02881" algn="just" defTabSz="871057">
              <a:lnSpc>
                <a:spcPct val="115000"/>
              </a:lnSpc>
              <a:spcBef>
                <a:spcPts val="286"/>
              </a:spcBef>
              <a:spcAft>
                <a:spcPts val="572"/>
              </a:spcAft>
              <a:defRPr/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ource rock:- 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ambay Shale, shale of the </a:t>
            </a:r>
            <a:r>
              <a:rPr lang="en-US" sz="133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nkleshwar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/ </a:t>
            </a:r>
            <a:r>
              <a:rPr lang="en-US" sz="133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alol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Formation and </a:t>
            </a:r>
            <a:r>
              <a:rPr lang="en-US" sz="133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arapur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Shale </a:t>
            </a:r>
            <a:endParaRPr lang="en-IN" sz="133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02881" algn="just" defTabSz="871057">
              <a:lnSpc>
                <a:spcPct val="115000"/>
              </a:lnSpc>
              <a:spcBef>
                <a:spcPts val="286"/>
              </a:spcBef>
              <a:spcAft>
                <a:spcPts val="572"/>
              </a:spcAft>
              <a:defRPr/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servoir:- </a:t>
            </a:r>
            <a:r>
              <a:rPr lang="en-US" sz="1334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lpad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Formation and Sandstone of Middle/Late Eocene</a:t>
            </a:r>
            <a:endParaRPr lang="en-IN" sz="133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02881" algn="just" defTabSz="871057">
              <a:lnSpc>
                <a:spcPct val="115000"/>
              </a:lnSpc>
              <a:spcBef>
                <a:spcPts val="286"/>
              </a:spcBef>
              <a:spcAft>
                <a:spcPts val="572"/>
              </a:spcAft>
              <a:defRPr/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trapment mechanism:- </a:t>
            </a:r>
            <a:r>
              <a:rPr lang="en-US" sz="1334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ructural and Stratigraphic Traps</a:t>
            </a:r>
            <a:endParaRPr lang="en-IN" sz="133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02881" algn="just" defTabSz="871057">
              <a:lnSpc>
                <a:spcPct val="115000"/>
              </a:lnSpc>
              <a:spcBef>
                <a:spcPts val="286"/>
              </a:spcBef>
              <a:spcAft>
                <a:spcPts val="572"/>
              </a:spcAft>
              <a:defRPr/>
            </a:pPr>
            <a:r>
              <a:rPr lang="en-IN" sz="1334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saged Petroleum system: </a:t>
            </a:r>
            <a:r>
              <a:rPr lang="en-IN" sz="1334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leocene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arly Eocene and Middle Eocene- </a:t>
            </a:r>
            <a:r>
              <a:rPr lang="en-IN" sz="1334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leocene</a:t>
            </a:r>
            <a:r>
              <a:rPr lang="en-IN" sz="133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arly Eocene and Middle Eocene</a:t>
            </a:r>
            <a:endParaRPr lang="en-IN" sz="1524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0CBF51-3029-4E35-BCDE-002CA8534F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3359" y="4520119"/>
            <a:ext cx="5174185" cy="1375621"/>
          </a:xfrm>
          <a:prstGeom prst="rect">
            <a:avLst/>
          </a:prstGeom>
        </p:spPr>
      </p:pic>
      <p:graphicFrame>
        <p:nvGraphicFramePr>
          <p:cNvPr id="23" name="Table 15">
            <a:extLst>
              <a:ext uri="{FF2B5EF4-FFF2-40B4-BE49-F238E27FC236}">
                <a16:creationId xmlns:a16="http://schemas.microsoft.com/office/drawing/2014/main" id="{961CB738-5F80-481A-B2F7-6338590B49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8572760"/>
              </p:ext>
            </p:extLst>
          </p:nvPr>
        </p:nvGraphicFramePr>
        <p:xfrm>
          <a:off x="1141808" y="4951821"/>
          <a:ext cx="4284033" cy="672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8011">
                  <a:extLst>
                    <a:ext uri="{9D8B030D-6E8A-4147-A177-3AD203B41FA5}">
                      <a16:colId xmlns:a16="http://schemas.microsoft.com/office/drawing/2014/main" val="1509538704"/>
                    </a:ext>
                  </a:extLst>
                </a:gridCol>
                <a:gridCol w="1428011">
                  <a:extLst>
                    <a:ext uri="{9D8B030D-6E8A-4147-A177-3AD203B41FA5}">
                      <a16:colId xmlns:a16="http://schemas.microsoft.com/office/drawing/2014/main" val="2097548571"/>
                    </a:ext>
                  </a:extLst>
                </a:gridCol>
                <a:gridCol w="1428011">
                  <a:extLst>
                    <a:ext uri="{9D8B030D-6E8A-4147-A177-3AD203B41FA5}">
                      <a16:colId xmlns:a16="http://schemas.microsoft.com/office/drawing/2014/main" val="1377973221"/>
                    </a:ext>
                  </a:extLst>
                </a:gridCol>
              </a:tblGrid>
              <a:tr h="33608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D (LKM)</a:t>
                      </a:r>
                      <a:endParaRPr lang="en-IN" sz="1600" dirty="0"/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D (SKM)</a:t>
                      </a:r>
                      <a:endParaRPr lang="en-IN" sz="1600" dirty="0"/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Exp. Well</a:t>
                      </a:r>
                      <a:endParaRPr lang="en-IN" sz="1600" dirty="0"/>
                    </a:p>
                  </a:txBody>
                  <a:tcPr marL="87105" marR="87105" marT="43552" marB="43552"/>
                </a:tc>
                <a:extLst>
                  <a:ext uri="{0D108BD9-81ED-4DB2-BD59-A6C34878D82A}">
                    <a16:rowId xmlns:a16="http://schemas.microsoft.com/office/drawing/2014/main" val="7503980"/>
                  </a:ext>
                </a:extLst>
              </a:tr>
              <a:tr h="336080">
                <a:tc>
                  <a:txBody>
                    <a:bodyPr/>
                    <a:lstStyle/>
                    <a:p>
                      <a:pPr algn="ctr"/>
                      <a:r>
                        <a:rPr lang="en-IN" sz="1600" dirty="0"/>
                        <a:t>641</a:t>
                      </a:r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/>
                        <a:t>418</a:t>
                      </a:r>
                    </a:p>
                  </a:txBody>
                  <a:tcPr marL="87105" marR="87105" marT="43552" marB="435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/>
                        <a:t>3</a:t>
                      </a:r>
                    </a:p>
                  </a:txBody>
                  <a:tcPr marL="87105" marR="87105" marT="43552" marB="43552"/>
                </a:tc>
                <a:extLst>
                  <a:ext uri="{0D108BD9-81ED-4DB2-BD59-A6C34878D82A}">
                    <a16:rowId xmlns:a16="http://schemas.microsoft.com/office/drawing/2014/main" val="714915456"/>
                  </a:ext>
                </a:extLst>
              </a:tr>
            </a:tbl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7AE575DE-8E19-4EA0-A6E3-F42D70BF5F44}"/>
              </a:ext>
            </a:extLst>
          </p:cNvPr>
          <p:cNvSpPr txBox="1"/>
          <p:nvPr/>
        </p:nvSpPr>
        <p:spPr>
          <a:xfrm>
            <a:off x="1384637" y="4580439"/>
            <a:ext cx="3437397" cy="2570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105" tIns="43552" rIns="87105" bIns="435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1057">
              <a:defRPr/>
            </a:pPr>
            <a:r>
              <a:rPr lang="it-IT" sz="1715" b="1" kern="0" dirty="0">
                <a:solidFill>
                  <a:srgbClr val="FFD700"/>
                </a:solidFill>
                <a:latin typeface="Trebuchet MS"/>
              </a:rPr>
              <a:t>Data Availability</a:t>
            </a:r>
            <a:endParaRPr lang="en-IN" sz="1715" dirty="0" err="1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A9083C1-D08D-4851-82AF-74814E2A80BE}"/>
              </a:ext>
            </a:extLst>
          </p:cNvPr>
          <p:cNvSpPr txBox="1"/>
          <p:nvPr/>
        </p:nvSpPr>
        <p:spPr>
          <a:xfrm>
            <a:off x="2937597" y="4125177"/>
            <a:ext cx="3502743" cy="2827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871057">
              <a:lnSpc>
                <a:spcPct val="115000"/>
              </a:lnSpc>
              <a:spcAft>
                <a:spcPts val="953"/>
              </a:spcAft>
              <a:defRPr/>
            </a:pPr>
            <a:r>
              <a:rPr lang="en-US" sz="1143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epresentative Seismic Section</a:t>
            </a:r>
            <a:endParaRPr lang="en-IN" sz="1048" dirty="0">
              <a:solidFill>
                <a:prstClr val="white"/>
              </a:solidFill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DAA29F7-2BBD-4507-B87E-EBBA49B880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41808" y="1335294"/>
            <a:ext cx="7172260" cy="279921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B144D26-435E-49FF-B7B2-02C5F557FB71}"/>
              </a:ext>
            </a:extLst>
          </p:cNvPr>
          <p:cNvSpPr txBox="1"/>
          <p:nvPr/>
        </p:nvSpPr>
        <p:spPr>
          <a:xfrm>
            <a:off x="1021270" y="6055683"/>
            <a:ext cx="4525108" cy="64197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4835" algn="just" defTabSz="871057">
              <a:lnSpc>
                <a:spcPct val="115000"/>
              </a:lnSpc>
              <a:spcAft>
                <a:spcPts val="953"/>
              </a:spcAft>
            </a:pPr>
            <a:r>
              <a:rPr lang="en-IN" sz="1600" b="1" dirty="0">
                <a:solidFill>
                  <a:srgbClr val="000000"/>
                </a:solidFill>
                <a:latin typeface="Calibri" panose="020F0502020204030204" pitchFamily="34" charset="0"/>
                <a:cs typeface="Mangal" panose="02040503050203030202" pitchFamily="18" charset="0"/>
              </a:rPr>
              <a:t>Target plays: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iddle Eocene along with Paleocene LST and Early Eocene</a:t>
            </a:r>
            <a:endParaRPr lang="en-IN" sz="16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Mangal" panose="02040503050203030202" pitchFamily="18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3696D74-1D1E-4A77-AD75-CF3B512D5E29}"/>
              </a:ext>
            </a:extLst>
          </p:cNvPr>
          <p:cNvGrpSpPr/>
          <p:nvPr/>
        </p:nvGrpSpPr>
        <p:grpSpPr>
          <a:xfrm>
            <a:off x="8691932" y="1284768"/>
            <a:ext cx="2116298" cy="2988291"/>
            <a:chOff x="6629867" y="480527"/>
            <a:chExt cx="2116298" cy="2988291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62069C2-B5F2-41F5-9583-62748FB70293}"/>
                </a:ext>
              </a:extLst>
            </p:cNvPr>
            <p:cNvGrpSpPr/>
            <p:nvPr/>
          </p:nvGrpSpPr>
          <p:grpSpPr>
            <a:xfrm>
              <a:off x="6629867" y="480527"/>
              <a:ext cx="2116298" cy="2988291"/>
              <a:chOff x="6629867" y="480527"/>
              <a:chExt cx="2116298" cy="2988291"/>
            </a:xfrm>
          </p:grpSpPr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A97164C4-D1A3-4553-991A-84A4C356D3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629867" y="480527"/>
                <a:ext cx="2116298" cy="2988291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13F61C62-B685-46FA-8B4F-71416A723779}"/>
                  </a:ext>
                </a:extLst>
              </p:cNvPr>
              <p:cNvSpPr/>
              <p:nvPr/>
            </p:nvSpPr>
            <p:spPr>
              <a:xfrm>
                <a:off x="7329116" y="583164"/>
                <a:ext cx="745799" cy="116349"/>
              </a:xfrm>
              <a:prstGeom prst="rect">
                <a:avLst/>
              </a:prstGeom>
              <a:solidFill>
                <a:srgbClr val="FFFF99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046427BE-6C91-485E-9893-6F3709059E3B}"/>
                  </a:ext>
                </a:extLst>
              </p:cNvPr>
              <p:cNvSpPr txBox="1"/>
              <p:nvPr/>
            </p:nvSpPr>
            <p:spPr>
              <a:xfrm>
                <a:off x="7329117" y="583164"/>
                <a:ext cx="771993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00" b="1" dirty="0">
                    <a:solidFill>
                      <a:schemeClr val="accent1">
                        <a:lumMod val="75000"/>
                      </a:schemeClr>
                    </a:solidFill>
                  </a:rPr>
                  <a:t> </a:t>
                </a:r>
                <a:r>
                  <a:rPr lang="en-US" sz="700" b="1" dirty="0">
                    <a:solidFill>
                      <a:schemeClr val="accent1">
                        <a:lumMod val="75000"/>
                        <a:lumOff val="25000"/>
                      </a:schemeClr>
                    </a:solidFill>
                  </a:rPr>
                  <a:t>CB-ONHP-2022/2</a:t>
                </a: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27D5820E-0368-448F-B9BE-7F9E6FA9698E}"/>
                </a:ext>
              </a:extLst>
            </p:cNvPr>
            <p:cNvSpPr txBox="1"/>
            <p:nvPr/>
          </p:nvSpPr>
          <p:spPr>
            <a:xfrm>
              <a:off x="7908029" y="3238894"/>
              <a:ext cx="55741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dirty="0"/>
                <a:t>Base Map</a:t>
              </a:r>
            </a:p>
          </p:txBody>
        </p: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86F5F5B-73B1-4D38-A331-B81C49020CD6}"/>
              </a:ext>
            </a:extLst>
          </p:cNvPr>
          <p:cNvCxnSpPr/>
          <p:nvPr/>
        </p:nvCxnSpPr>
        <p:spPr>
          <a:xfrm>
            <a:off x="31554" y="579604"/>
            <a:ext cx="12124944" cy="0"/>
          </a:xfrm>
          <a:prstGeom prst="line">
            <a:avLst/>
          </a:prstGeom>
          <a:ln w="101600" cap="rnd" cmpd="thinThick">
            <a:solidFill>
              <a:schemeClr val="tx2">
                <a:lumMod val="5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A04D7D86-0331-4EB7-8E7C-97C3C0E8E1EB}"/>
              </a:ext>
            </a:extLst>
          </p:cNvPr>
          <p:cNvSpPr txBox="1"/>
          <p:nvPr/>
        </p:nvSpPr>
        <p:spPr>
          <a:xfrm>
            <a:off x="4932773" y="145886"/>
            <a:ext cx="2322506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>
            <a:spAutoFit/>
          </a:bodyPr>
          <a:lstStyle/>
          <a:p>
            <a:pPr algn="ctr" defTabSz="871057">
              <a:defRPr/>
            </a:pPr>
            <a:r>
              <a:rPr lang="en-US" sz="2400" b="1" dirty="0">
                <a:solidFill>
                  <a:srgbClr val="000066"/>
                </a:solidFill>
                <a:latin typeface="Trebuchet MS"/>
              </a:rPr>
              <a:t>Cambay Basin</a:t>
            </a:r>
          </a:p>
        </p:txBody>
      </p:sp>
    </p:spTree>
    <p:extLst>
      <p:ext uri="{BB962C8B-B14F-4D97-AF65-F5344CB8AC3E}">
        <p14:creationId xmlns:p14="http://schemas.microsoft.com/office/powerpoint/2010/main" val="9861968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.OZ9I6uLTVnGLTbvbEc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X3yVB9z.xIRsbmEtYvi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m7wqTIAB_VdJrHkXYCR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wMR8o9W.UFKx5wz9Cei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OCFLBVldWbg0kkxDP6y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ZzZgUO7gfriDyKUW3.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h5e9c7WHAzX9VNUWG5k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8M.efb_ONNKP._qkIZ3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COTf8CFHWLijsqwulx8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PDaYnfhGS9L995c2eDU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l3ZAeyQMhmiE2NRiS_8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nSHG.r4i3MiLA9msn83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idyktzkzaq9aBc0LnwQ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nfgGhTodhRqggFksWRJ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Aib.37efTPk6gSVP1Qa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CoAIPt.DpzI5uZNNoX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7N4a0IbpFpfrafRc0lX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Ur4s_sKAMqtT.FazFgy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uQHoQ7giGTk47h.mY5b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0XLYkYYQgSs6fhYml9b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E9tWtIU0agYNIgRVulM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YKb0XxEUd4EXSda9UX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RSJdkE0S3Ab3_lAQUgh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gae77J6c8T8CNWGMslt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yGmjqV38si0mcVaRjme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9kXAfw5dKbWCdyImZ5E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yh9c_zC2Obq9C4qHXdw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6AAPrBTe9TUWf3yxE2I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YcnQ2XXnw3K.8.q2nXh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S_RH4LvDR721kDcE9XA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5AA7l9RkHZtQXxZyUU4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GZ9Pd.AIp.t88d4rQp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VLnveDNBGCLOvph0oaR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vBQxXYm8CYB_xLF1ceH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eVqRFU2WE0WoaNu1CEf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epM1Z03ebRhHMlVqtd6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cxxFkd7TDu4qucVtvh1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WOjjrYu_9xHPkJSAc2f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117qiqHpi38A_Bq5oUZ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TQHdeu5PWDLQqF8YCO5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Cj2ZfzTZnl2oh0lXpeS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qyHWNzWD5_dZcDKz_0c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6cDSeOYPkhTWyx6J7t5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R_sytwmWE5E3wMECNkL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8_cKGAlVfdM2TWxAy6u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y9UiXQJg_lJC4ME4o0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aHrvLYg_plGrX.aOwva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x7SJC.TAnGQc8mNOUb3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s.gYPYF_XniQl0psQjF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YfQrRDor5VyqzhBqLGb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L_ltuxg5AqrBeYoVEE7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T0ScdVKNsz5oCe2eTdB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nddWwNEYo4_YGjLAMk7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1GbCh.bnFPPqtRvG__k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pIPDwAAtNL.EMvlvlXc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tUSajFesNbbC0dTCkV8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vdny_ZZQQvXRZXutEQz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7hTXpW3HVirvC6S5n8y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yn3xRMXOoCca2yn18Ar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ANvbMMk0ssB2zuUVWrt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HtqmHPHh37O.RdbRfR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ZF4iwmqDv9ZoAidxE9W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k9r0TWGOTrnl0OzZve8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VopFDTL3.gCJN8FVcDy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RU3504yCO9U51fo0s3J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SHH7KfWyAfYPNUdI.aN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1tAKJLArnO948AcU3Kb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UePQi6bamf0cPhwkMqN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nAhYLeGzHD3Ngo146O8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aVLf1OLmRmL.ZYN1a47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H92vEt2OPQ0rGQzY6a8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WUuBURLNtuJb.IwYkgL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zv4vpDh3Px3YKd48xdS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YX.fUSxwAo9SCllCPlu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Qw.t5QqpdmDufJwDjmo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dgD_OfuHMcB51MD5uDd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o_GRBMm_01svRU0Igtv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CUWh5tWxEeZvCw9v3eQ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pWSOlm_oBveXXEXRtCl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qt9Sc71VZE7hI1PDUAw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ZQ75Jplbhl.OK4wFkZ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7N4a0IbpFpfrafRc0lX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Ur4s_sKAMqtT.FazFgy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RD_mQdJ.ewbjUlnvDA6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TQHdeu5PWDLQqF8YCO5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E9tWtIU0agYNIgRVulM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nhYT6IGNOlC6TvRzJ_H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RSJdkE0S3Ab3_lAQUgh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Tfy6w0wNvtCjuvDpjrs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nr1ptKOMZR_11EOFqC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wUvLmP4d84j25KDorQy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VLnveDNBGCLOvph0oaR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gLmcb9uPO5CrOFSALkh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G.awXOxZBlSbC09rynb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XxlolCT6VEGnZt1Exff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GZ9Pd.AIp.t88d4rQpy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S_RH4LvDR721kDcE9XA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LlETsaiv3tAMyYiovMd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eVqRFU2WE0WoaNu1CEf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3EDuSCc2KBr5MJBmPp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vKQSQSYnWz6nXx9egGE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epM1Z03ebRhHMlVqtd6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dRDy14F3q3LhOWauY6B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B5S_.Xlg2hiGpoxfpE1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cxxFkd7TDu4qucVtvh1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cQLMekkv1by1o3oHhsT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wMSoDV6GydNg2VSoFDm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fCsAFmseA5ffO99EBjl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6H8tv4SHtf8CRKQhlL3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DEmpqBbvhanNTMRhKNx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w7ZvjSETH9RYf8_quIk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uFPSZSQSjm74anYtNI3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929zmksKJunUW0NwPWR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gFjLNP7dQDRnclHjHNh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Aib.37efTPk6gSVP1Qa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CoAIPt.DpzI5uZNNoXL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7N4a0IbpFpfrafRc0lX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Ur4s_sKAMqtT.FazFgy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0APkvmiHjzdAvMX_qLa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0oSakHo.QcbclGE72Ga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9LYxtOyP6_CQezXV8Fi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0ITzrHbjGJsThcVTXZw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NyfFXzjm9ggnK3mqJhi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QXlMVsiDSIkVKKlt5Yk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up1MDHhhcm5KbMIbsQW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1yQx0.YMopv_tjN.JeR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BOxZsXW86n35Gat0ow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6YrnwkhbNo0TMHPwut9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Aib.37efTPk6gSVP1Qa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CoAIPt.DpzI5uZNNoXL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7N4a0IbpFpfrafRc0lX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Ur4s_sKAMqtT.FazFgy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IbOr5SYYzKqmdpEwQzR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7_London Event Policy Grid 16:9 - 18457">
  <a:themeElements>
    <a:clrScheme name="Custom 1">
      <a:dk1>
        <a:srgbClr val="000000"/>
      </a:dk1>
      <a:lt1>
        <a:sysClr val="window" lastClr="FFFFFF"/>
      </a:lt1>
      <a:dk2>
        <a:srgbClr val="264796"/>
      </a:dk2>
      <a:lt2>
        <a:srgbClr val="F2F2F2"/>
      </a:lt2>
      <a:accent1>
        <a:srgbClr val="06234E"/>
      </a:accent1>
      <a:accent2>
        <a:srgbClr val="203864"/>
      </a:accent2>
      <a:accent3>
        <a:srgbClr val="FFD700"/>
      </a:accent3>
      <a:accent4>
        <a:srgbClr val="4472C4"/>
      </a:accent4>
      <a:accent5>
        <a:srgbClr val="5A5A5A"/>
      </a:accent5>
      <a:accent6>
        <a:srgbClr val="29BA74"/>
      </a:accent6>
      <a:hlink>
        <a:srgbClr val="00B5E2"/>
      </a:hlink>
      <a:folHlink>
        <a:srgbClr val="54DD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64796"/>
        </a:solidFill>
        <a:ln w="9525" cap="rnd" cmpd="sng" algn="ctr">
          <a:solidFill>
            <a:srgbClr val="264796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1.xml><?xml version="1.0" encoding="utf-8"?>
<a:theme xmlns:a="http://schemas.openxmlformats.org/drawingml/2006/main" name="8_London Event Policy Grid 16:9 - 18457">
  <a:themeElements>
    <a:clrScheme name="Custom 1">
      <a:dk1>
        <a:srgbClr val="000000"/>
      </a:dk1>
      <a:lt1>
        <a:sysClr val="window" lastClr="FFFFFF"/>
      </a:lt1>
      <a:dk2>
        <a:srgbClr val="264796"/>
      </a:dk2>
      <a:lt2>
        <a:srgbClr val="F2F2F2"/>
      </a:lt2>
      <a:accent1>
        <a:srgbClr val="06234E"/>
      </a:accent1>
      <a:accent2>
        <a:srgbClr val="203864"/>
      </a:accent2>
      <a:accent3>
        <a:srgbClr val="FFD700"/>
      </a:accent3>
      <a:accent4>
        <a:srgbClr val="4472C4"/>
      </a:accent4>
      <a:accent5>
        <a:srgbClr val="5A5A5A"/>
      </a:accent5>
      <a:accent6>
        <a:srgbClr val="29BA74"/>
      </a:accent6>
      <a:hlink>
        <a:srgbClr val="00B5E2"/>
      </a:hlink>
      <a:folHlink>
        <a:srgbClr val="54DD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64796"/>
        </a:solidFill>
        <a:ln w="9525" cap="rnd" cmpd="sng" algn="ctr">
          <a:solidFill>
            <a:srgbClr val="264796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2.xml><?xml version="1.0" encoding="utf-8"?>
<a:theme xmlns:a="http://schemas.openxmlformats.org/drawingml/2006/main" name="1_KPMG_Standard_4x3_0922_2015">
  <a:themeElements>
    <a:clrScheme name="New KPMG Colours">
      <a:dk1>
        <a:srgbClr val="000000"/>
      </a:dk1>
      <a:lt1>
        <a:sysClr val="window" lastClr="FFFFFF"/>
      </a:lt1>
      <a:dk2>
        <a:srgbClr val="00338D"/>
      </a:dk2>
      <a:lt2>
        <a:srgbClr val="F0F0F0"/>
      </a:lt2>
      <a:accent1>
        <a:srgbClr val="0091DA"/>
      </a:accent1>
      <a:accent2>
        <a:srgbClr val="6D2077"/>
      </a:accent2>
      <a:accent3>
        <a:srgbClr val="005EB8"/>
      </a:accent3>
      <a:accent4>
        <a:srgbClr val="00A3A1"/>
      </a:accent4>
      <a:accent5>
        <a:srgbClr val="EAAA00"/>
      </a:accent5>
      <a:accent6>
        <a:srgbClr val="43B02A"/>
      </a:accent6>
      <a:hlink>
        <a:srgbClr val="0091DA"/>
      </a:hlink>
      <a:folHlink>
        <a:srgbClr val="0091DA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15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Screen Standard Template.potx" id="{32F9CA8E-23B2-4F27-97D5-D13B48472974}" vid="{41B3CA61-CA54-45BF-A8CA-F3559622C17D}"/>
    </a:ext>
  </a:extLst>
</a:theme>
</file>

<file path=ppt/theme/theme1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PMG_Standard_4x3_0922_2015">
  <a:themeElements>
    <a:clrScheme name="New KPMG Colours">
      <a:dk1>
        <a:srgbClr val="000000"/>
      </a:dk1>
      <a:lt1>
        <a:sysClr val="window" lastClr="FFFFFF"/>
      </a:lt1>
      <a:dk2>
        <a:srgbClr val="00338D"/>
      </a:dk2>
      <a:lt2>
        <a:srgbClr val="F0F0F0"/>
      </a:lt2>
      <a:accent1>
        <a:srgbClr val="0091DA"/>
      </a:accent1>
      <a:accent2>
        <a:srgbClr val="6D2077"/>
      </a:accent2>
      <a:accent3>
        <a:srgbClr val="005EB8"/>
      </a:accent3>
      <a:accent4>
        <a:srgbClr val="00A3A1"/>
      </a:accent4>
      <a:accent5>
        <a:srgbClr val="EAAA00"/>
      </a:accent5>
      <a:accent6>
        <a:srgbClr val="43B02A"/>
      </a:accent6>
      <a:hlink>
        <a:srgbClr val="0091DA"/>
      </a:hlink>
      <a:folHlink>
        <a:srgbClr val="0091DA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15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Screen Standard Template.potx" id="{32F9CA8E-23B2-4F27-97D5-D13B48472974}" vid="{41B3CA61-CA54-45BF-A8CA-F3559622C17D}"/>
    </a:ext>
  </a:extLst>
</a:theme>
</file>

<file path=ppt/theme/theme3.xml><?xml version="1.0" encoding="utf-8"?>
<a:theme xmlns:a="http://schemas.openxmlformats.org/drawingml/2006/main" name="London Event Policy Grid 16:9 - 18457">
  <a:themeElements>
    <a:clrScheme name="Custom 1">
      <a:dk1>
        <a:srgbClr val="000000"/>
      </a:dk1>
      <a:lt1>
        <a:sysClr val="window" lastClr="FFFFFF"/>
      </a:lt1>
      <a:dk2>
        <a:srgbClr val="264796"/>
      </a:dk2>
      <a:lt2>
        <a:srgbClr val="F2F2F2"/>
      </a:lt2>
      <a:accent1>
        <a:srgbClr val="06234E"/>
      </a:accent1>
      <a:accent2>
        <a:srgbClr val="203864"/>
      </a:accent2>
      <a:accent3>
        <a:srgbClr val="FFD700"/>
      </a:accent3>
      <a:accent4>
        <a:srgbClr val="4472C4"/>
      </a:accent4>
      <a:accent5>
        <a:srgbClr val="5A5A5A"/>
      </a:accent5>
      <a:accent6>
        <a:srgbClr val="29BA74"/>
      </a:accent6>
      <a:hlink>
        <a:srgbClr val="00B5E2"/>
      </a:hlink>
      <a:folHlink>
        <a:srgbClr val="54DD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64796"/>
        </a:solidFill>
        <a:ln w="9525" cap="rnd" cmpd="sng" algn="ctr">
          <a:solidFill>
            <a:srgbClr val="264796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1_London Event Policy Grid 16:9 - 18457">
  <a:themeElements>
    <a:clrScheme name="Custom 1">
      <a:dk1>
        <a:srgbClr val="000000"/>
      </a:dk1>
      <a:lt1>
        <a:sysClr val="window" lastClr="FFFFFF"/>
      </a:lt1>
      <a:dk2>
        <a:srgbClr val="264796"/>
      </a:dk2>
      <a:lt2>
        <a:srgbClr val="F2F2F2"/>
      </a:lt2>
      <a:accent1>
        <a:srgbClr val="06234E"/>
      </a:accent1>
      <a:accent2>
        <a:srgbClr val="203864"/>
      </a:accent2>
      <a:accent3>
        <a:srgbClr val="FFD700"/>
      </a:accent3>
      <a:accent4>
        <a:srgbClr val="4472C4"/>
      </a:accent4>
      <a:accent5>
        <a:srgbClr val="5A5A5A"/>
      </a:accent5>
      <a:accent6>
        <a:srgbClr val="29BA74"/>
      </a:accent6>
      <a:hlink>
        <a:srgbClr val="00B5E2"/>
      </a:hlink>
      <a:folHlink>
        <a:srgbClr val="54DD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64796"/>
        </a:solidFill>
        <a:ln w="9525" cap="rnd" cmpd="sng" algn="ctr">
          <a:solidFill>
            <a:srgbClr val="264796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2_London Event Policy Grid 16:9 - 18457">
  <a:themeElements>
    <a:clrScheme name="Custom 1">
      <a:dk1>
        <a:srgbClr val="000000"/>
      </a:dk1>
      <a:lt1>
        <a:sysClr val="window" lastClr="FFFFFF"/>
      </a:lt1>
      <a:dk2>
        <a:srgbClr val="264796"/>
      </a:dk2>
      <a:lt2>
        <a:srgbClr val="F2F2F2"/>
      </a:lt2>
      <a:accent1>
        <a:srgbClr val="06234E"/>
      </a:accent1>
      <a:accent2>
        <a:srgbClr val="203864"/>
      </a:accent2>
      <a:accent3>
        <a:srgbClr val="FFD700"/>
      </a:accent3>
      <a:accent4>
        <a:srgbClr val="4472C4"/>
      </a:accent4>
      <a:accent5>
        <a:srgbClr val="5A5A5A"/>
      </a:accent5>
      <a:accent6>
        <a:srgbClr val="29BA74"/>
      </a:accent6>
      <a:hlink>
        <a:srgbClr val="00B5E2"/>
      </a:hlink>
      <a:folHlink>
        <a:srgbClr val="54DD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64796"/>
        </a:solidFill>
        <a:ln w="9525" cap="rnd" cmpd="sng" algn="ctr">
          <a:solidFill>
            <a:srgbClr val="264796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3_London Event Policy Grid 16:9 - 18457">
  <a:themeElements>
    <a:clrScheme name="Custom 1">
      <a:dk1>
        <a:srgbClr val="000000"/>
      </a:dk1>
      <a:lt1>
        <a:sysClr val="window" lastClr="FFFFFF"/>
      </a:lt1>
      <a:dk2>
        <a:srgbClr val="264796"/>
      </a:dk2>
      <a:lt2>
        <a:srgbClr val="F2F2F2"/>
      </a:lt2>
      <a:accent1>
        <a:srgbClr val="06234E"/>
      </a:accent1>
      <a:accent2>
        <a:srgbClr val="203864"/>
      </a:accent2>
      <a:accent3>
        <a:srgbClr val="FFD700"/>
      </a:accent3>
      <a:accent4>
        <a:srgbClr val="4472C4"/>
      </a:accent4>
      <a:accent5>
        <a:srgbClr val="5A5A5A"/>
      </a:accent5>
      <a:accent6>
        <a:srgbClr val="29BA74"/>
      </a:accent6>
      <a:hlink>
        <a:srgbClr val="00B5E2"/>
      </a:hlink>
      <a:folHlink>
        <a:srgbClr val="54DD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64796"/>
        </a:solidFill>
        <a:ln w="9525" cap="rnd" cmpd="sng" algn="ctr">
          <a:solidFill>
            <a:srgbClr val="264796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7.xml><?xml version="1.0" encoding="utf-8"?>
<a:theme xmlns:a="http://schemas.openxmlformats.org/drawingml/2006/main" name="4_London Event Policy Grid 16:9 - 18457">
  <a:themeElements>
    <a:clrScheme name="Custom 1">
      <a:dk1>
        <a:srgbClr val="000000"/>
      </a:dk1>
      <a:lt1>
        <a:sysClr val="window" lastClr="FFFFFF"/>
      </a:lt1>
      <a:dk2>
        <a:srgbClr val="264796"/>
      </a:dk2>
      <a:lt2>
        <a:srgbClr val="F2F2F2"/>
      </a:lt2>
      <a:accent1>
        <a:srgbClr val="06234E"/>
      </a:accent1>
      <a:accent2>
        <a:srgbClr val="203864"/>
      </a:accent2>
      <a:accent3>
        <a:srgbClr val="FFD700"/>
      </a:accent3>
      <a:accent4>
        <a:srgbClr val="4472C4"/>
      </a:accent4>
      <a:accent5>
        <a:srgbClr val="5A5A5A"/>
      </a:accent5>
      <a:accent6>
        <a:srgbClr val="29BA74"/>
      </a:accent6>
      <a:hlink>
        <a:srgbClr val="00B5E2"/>
      </a:hlink>
      <a:folHlink>
        <a:srgbClr val="54DD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64796"/>
        </a:solidFill>
        <a:ln w="9525" cap="rnd" cmpd="sng" algn="ctr">
          <a:solidFill>
            <a:srgbClr val="264796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8.xml><?xml version="1.0" encoding="utf-8"?>
<a:theme xmlns:a="http://schemas.openxmlformats.org/drawingml/2006/main" name="5_London Event Policy Grid 16:9 - 18457">
  <a:themeElements>
    <a:clrScheme name="Custom 1">
      <a:dk1>
        <a:srgbClr val="000000"/>
      </a:dk1>
      <a:lt1>
        <a:sysClr val="window" lastClr="FFFFFF"/>
      </a:lt1>
      <a:dk2>
        <a:srgbClr val="264796"/>
      </a:dk2>
      <a:lt2>
        <a:srgbClr val="F2F2F2"/>
      </a:lt2>
      <a:accent1>
        <a:srgbClr val="06234E"/>
      </a:accent1>
      <a:accent2>
        <a:srgbClr val="203864"/>
      </a:accent2>
      <a:accent3>
        <a:srgbClr val="FFD700"/>
      </a:accent3>
      <a:accent4>
        <a:srgbClr val="4472C4"/>
      </a:accent4>
      <a:accent5>
        <a:srgbClr val="5A5A5A"/>
      </a:accent5>
      <a:accent6>
        <a:srgbClr val="29BA74"/>
      </a:accent6>
      <a:hlink>
        <a:srgbClr val="00B5E2"/>
      </a:hlink>
      <a:folHlink>
        <a:srgbClr val="54DD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64796"/>
        </a:solidFill>
        <a:ln w="9525" cap="rnd" cmpd="sng" algn="ctr">
          <a:solidFill>
            <a:srgbClr val="264796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9.xml><?xml version="1.0" encoding="utf-8"?>
<a:theme xmlns:a="http://schemas.openxmlformats.org/drawingml/2006/main" name="6_London Event Policy Grid 16:9 - 18457">
  <a:themeElements>
    <a:clrScheme name="Custom 1">
      <a:dk1>
        <a:srgbClr val="000000"/>
      </a:dk1>
      <a:lt1>
        <a:sysClr val="window" lastClr="FFFFFF"/>
      </a:lt1>
      <a:dk2>
        <a:srgbClr val="264796"/>
      </a:dk2>
      <a:lt2>
        <a:srgbClr val="F2F2F2"/>
      </a:lt2>
      <a:accent1>
        <a:srgbClr val="06234E"/>
      </a:accent1>
      <a:accent2>
        <a:srgbClr val="203864"/>
      </a:accent2>
      <a:accent3>
        <a:srgbClr val="FFD700"/>
      </a:accent3>
      <a:accent4>
        <a:srgbClr val="4472C4"/>
      </a:accent4>
      <a:accent5>
        <a:srgbClr val="5A5A5A"/>
      </a:accent5>
      <a:accent6>
        <a:srgbClr val="29BA74"/>
      </a:accent6>
      <a:hlink>
        <a:srgbClr val="00B5E2"/>
      </a:hlink>
      <a:folHlink>
        <a:srgbClr val="54DD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64796"/>
        </a:solidFill>
        <a:ln w="9525" cap="rnd" cmpd="sng" algn="ctr">
          <a:solidFill>
            <a:srgbClr val="264796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11</TotalTime>
  <Words>2252</Words>
  <Application>Microsoft Office PowerPoint</Application>
  <PresentationFormat>Widescreen</PresentationFormat>
  <Paragraphs>595</Paragraphs>
  <Slides>23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46" baseType="lpstr">
      <vt:lpstr>Arial</vt:lpstr>
      <vt:lpstr>Calibri</vt:lpstr>
      <vt:lpstr>Calibri Light</vt:lpstr>
      <vt:lpstr>KPMG Extralight</vt:lpstr>
      <vt:lpstr>times new roman</vt:lpstr>
      <vt:lpstr>Trebuchet MS</vt:lpstr>
      <vt:lpstr>Univers for KPMG</vt:lpstr>
      <vt:lpstr>Wingdings</vt:lpstr>
      <vt:lpstr>Office Theme</vt:lpstr>
      <vt:lpstr>KPMG_Standard_4x3_0922_2015</vt:lpstr>
      <vt:lpstr>London Event Policy Grid 16:9 - 18457</vt:lpstr>
      <vt:lpstr>1_London Event Policy Grid 16:9 - 18457</vt:lpstr>
      <vt:lpstr>2_London Event Policy Grid 16:9 - 18457</vt:lpstr>
      <vt:lpstr>3_London Event Policy Grid 16:9 - 18457</vt:lpstr>
      <vt:lpstr>4_London Event Policy Grid 16:9 - 18457</vt:lpstr>
      <vt:lpstr>5_London Event Policy Grid 16:9 - 18457</vt:lpstr>
      <vt:lpstr>6_London Event Policy Grid 16:9 - 18457</vt:lpstr>
      <vt:lpstr>7_London Event Policy Grid 16:9 - 18457</vt:lpstr>
      <vt:lpstr>8_London Event Policy Grid 16:9 - 18457</vt:lpstr>
      <vt:lpstr>1_KPMG_Standard_4x3_0922_2015</vt:lpstr>
      <vt:lpstr>1_Office Theme</vt:lpstr>
      <vt:lpstr>2_Office Theme</vt:lpstr>
      <vt:lpstr>think-cell Slide</vt:lpstr>
      <vt:lpstr>E&amp;P Opportunities In India</vt:lpstr>
      <vt:lpstr>Indian Sedimentary Basins and Categories</vt:lpstr>
      <vt:lpstr>No-Go Areas Opened for E&amp; P Activities</vt:lpstr>
      <vt:lpstr>The Open Acreage Licensing Policy (OALP) EoI &amp; Bidding Process</vt:lpstr>
      <vt:lpstr>PowerPoint Presentation</vt:lpstr>
      <vt:lpstr>OALP Bid Round -IX</vt:lpstr>
      <vt:lpstr>Bid Round -IX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ey Touch Points for Facilitation 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ga Offshore Bid Round – India</dc:title>
  <dc:creator>ARNAB BANERJEE</dc:creator>
  <cp:lastModifiedBy>ASHISH RAGHUVANSHI</cp:lastModifiedBy>
  <cp:revision>358</cp:revision>
  <cp:lastPrinted>2023-08-25T12:19:24Z</cp:lastPrinted>
  <dcterms:created xsi:type="dcterms:W3CDTF">2022-10-04T06:29:50Z</dcterms:created>
  <dcterms:modified xsi:type="dcterms:W3CDTF">2023-08-25T13:09:27Z</dcterms:modified>
</cp:coreProperties>
</file>